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2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4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1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1945" r:id="rId10"/>
    <p:sldId id="1962" r:id="rId11"/>
    <p:sldId id="1994" r:id="rId12"/>
    <p:sldId id="1964" r:id="rId13"/>
    <p:sldId id="1995" r:id="rId14"/>
    <p:sldId id="1996" r:id="rId15"/>
    <p:sldId id="1997" r:id="rId16"/>
    <p:sldId id="1998" r:id="rId17"/>
    <p:sldId id="1999" r:id="rId18"/>
    <p:sldId id="2000" r:id="rId19"/>
    <p:sldId id="2001" r:id="rId20"/>
    <p:sldId id="2002" r:id="rId21"/>
    <p:sldId id="2003" r:id="rId22"/>
    <p:sldId id="2004" r:id="rId23"/>
    <p:sldId id="2005" r:id="rId24"/>
    <p:sldId id="2006" r:id="rId25"/>
    <p:sldId id="2007" r:id="rId26"/>
    <p:sldId id="2008" r:id="rId27"/>
    <p:sldId id="1942" r:id="rId28"/>
    <p:sldId id="1474" r:id="rId29"/>
    <p:sldId id="1481" r:id="rId30"/>
    <p:sldId id="1482" r:id="rId31"/>
    <p:sldId id="1475" r:id="rId32"/>
    <p:sldId id="1483" r:id="rId33"/>
    <p:sldId id="1923" r:id="rId34"/>
    <p:sldId id="1476" r:id="rId35"/>
    <p:sldId id="1523" r:id="rId36"/>
    <p:sldId id="1524" r:id="rId37"/>
    <p:sldId id="1595" r:id="rId38"/>
    <p:sldId id="1639" r:id="rId39"/>
    <p:sldId id="1802" r:id="rId40"/>
    <p:sldId id="1829" r:id="rId41"/>
    <p:sldId id="1823" r:id="rId42"/>
    <p:sldId id="1845" r:id="rId43"/>
    <p:sldId id="1864" r:id="rId44"/>
    <p:sldId id="1866" r:id="rId45"/>
    <p:sldId id="1886" r:id="rId46"/>
    <p:sldId id="1528" r:id="rId47"/>
    <p:sldId id="1530" r:id="rId48"/>
    <p:sldId id="1571" r:id="rId49"/>
    <p:sldId id="1572" r:id="rId50"/>
    <p:sldId id="1596" r:id="rId51"/>
    <p:sldId id="1615" r:id="rId52"/>
    <p:sldId id="1617" r:id="rId53"/>
    <p:sldId id="1641" r:id="rId54"/>
    <p:sldId id="1784" r:id="rId55"/>
    <p:sldId id="1804" r:id="rId56"/>
    <p:sldId id="1888" r:id="rId57"/>
    <p:sldId id="1907" r:id="rId58"/>
    <p:sldId id="1592" r:id="rId59"/>
    <p:sldId id="1593" r:id="rId60"/>
  </p:sldIdLst>
  <p:sldSz cx="12192000" cy="6858000"/>
  <p:notesSz cx="6858000" cy="9144000"/>
  <p:custDataLst>
    <p:tags r:id="rId6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N$1</c:f>
              <c:strCache>
                <c:ptCount val="91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  <c:pt idx="90">
                  <c:v>17.1.–23.1.</c:v>
                </c:pt>
              </c:strCache>
            </c:strRef>
          </c:cat>
          <c:val>
            <c:numRef>
              <c:f>List1!$B$2:$CN$2</c:f>
              <c:numCache>
                <c:formatCode>General</c:formatCode>
                <c:ptCount val="91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5</c:v>
                </c:pt>
                <c:pt idx="84">
                  <c:v>173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28</c:v>
                </c:pt>
                <c:pt idx="90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9</c:v>
                </c:pt>
                <c:pt idx="1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</c:v>
                </c:pt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858947466554797</c:v>
                </c:pt>
                <c:pt idx="1">
                  <c:v>8.141052533445206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List1!$B$2:$B$509</c:f>
              <c:numCache>
                <c:formatCode>General</c:formatCode>
                <c:ptCount val="50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3</c:v>
                </c:pt>
                <c:pt idx="15">
                  <c:v>13</c:v>
                </c:pt>
                <c:pt idx="16">
                  <c:v>13</c:v>
                </c:pt>
                <c:pt idx="17">
                  <c:v>15</c:v>
                </c:pt>
                <c:pt idx="18">
                  <c:v>16</c:v>
                </c:pt>
                <c:pt idx="19">
                  <c:v>19</c:v>
                </c:pt>
                <c:pt idx="20">
                  <c:v>20</c:v>
                </c:pt>
                <c:pt idx="21">
                  <c:v>20</c:v>
                </c:pt>
                <c:pt idx="22">
                  <c:v>21</c:v>
                </c:pt>
                <c:pt idx="23">
                  <c:v>24</c:v>
                </c:pt>
                <c:pt idx="24">
                  <c:v>25</c:v>
                </c:pt>
                <c:pt idx="25">
                  <c:v>30</c:v>
                </c:pt>
                <c:pt idx="26">
                  <c:v>35</c:v>
                </c:pt>
                <c:pt idx="27">
                  <c:v>38</c:v>
                </c:pt>
                <c:pt idx="28">
                  <c:v>43</c:v>
                </c:pt>
                <c:pt idx="29">
                  <c:v>71</c:v>
                </c:pt>
                <c:pt idx="30">
                  <c:v>102</c:v>
                </c:pt>
                <c:pt idx="31">
                  <c:v>164</c:v>
                </c:pt>
                <c:pt idx="32">
                  <c:v>200</c:v>
                </c:pt>
                <c:pt idx="33">
                  <c:v>254</c:v>
                </c:pt>
                <c:pt idx="34">
                  <c:v>421</c:v>
                </c:pt>
                <c:pt idx="35">
                  <c:v>503</c:v>
                </c:pt>
                <c:pt idx="36">
                  <c:v>548</c:v>
                </c:pt>
                <c:pt idx="37">
                  <c:v>626</c:v>
                </c:pt>
                <c:pt idx="38">
                  <c:v>765</c:v>
                </c:pt>
                <c:pt idx="39">
                  <c:v>795</c:v>
                </c:pt>
                <c:pt idx="40">
                  <c:v>806</c:v>
                </c:pt>
                <c:pt idx="41">
                  <c:v>944</c:v>
                </c:pt>
                <c:pt idx="42">
                  <c:v>1167</c:v>
                </c:pt>
                <c:pt idx="43">
                  <c:v>1348</c:v>
                </c:pt>
                <c:pt idx="44">
                  <c:v>1543</c:v>
                </c:pt>
                <c:pt idx="45">
                  <c:v>1748</c:v>
                </c:pt>
                <c:pt idx="46">
                  <c:v>1903</c:v>
                </c:pt>
                <c:pt idx="47">
                  <c:v>1944</c:v>
                </c:pt>
                <c:pt idx="48">
                  <c:v>2186</c:v>
                </c:pt>
                <c:pt idx="49">
                  <c:v>2386</c:v>
                </c:pt>
                <c:pt idx="50">
                  <c:v>2712</c:v>
                </c:pt>
                <c:pt idx="51">
                  <c:v>2940</c:v>
                </c:pt>
                <c:pt idx="52">
                  <c:v>3357</c:v>
                </c:pt>
                <c:pt idx="53">
                  <c:v>3584</c:v>
                </c:pt>
                <c:pt idx="54">
                  <c:v>3779</c:v>
                </c:pt>
                <c:pt idx="55">
                  <c:v>4166</c:v>
                </c:pt>
                <c:pt idx="56">
                  <c:v>4689</c:v>
                </c:pt>
                <c:pt idx="57">
                  <c:v>4949</c:v>
                </c:pt>
                <c:pt idx="58">
                  <c:v>5488</c:v>
                </c:pt>
                <c:pt idx="59">
                  <c:v>6075</c:v>
                </c:pt>
                <c:pt idx="60">
                  <c:v>6412</c:v>
                </c:pt>
                <c:pt idx="61">
                  <c:v>6625</c:v>
                </c:pt>
                <c:pt idx="62">
                  <c:v>6957</c:v>
                </c:pt>
                <c:pt idx="63">
                  <c:v>7289</c:v>
                </c:pt>
                <c:pt idx="64">
                  <c:v>7713</c:v>
                </c:pt>
                <c:pt idx="65">
                  <c:v>8247</c:v>
                </c:pt>
                <c:pt idx="66">
                  <c:v>8735</c:v>
                </c:pt>
                <c:pt idx="67">
                  <c:v>8950</c:v>
                </c:pt>
                <c:pt idx="68">
                  <c:v>9028</c:v>
                </c:pt>
                <c:pt idx="69">
                  <c:v>9232</c:v>
                </c:pt>
                <c:pt idx="70">
                  <c:v>9617</c:v>
                </c:pt>
                <c:pt idx="71">
                  <c:v>10294</c:v>
                </c:pt>
                <c:pt idx="72">
                  <c:v>10792</c:v>
                </c:pt>
                <c:pt idx="73">
                  <c:v>11273</c:v>
                </c:pt>
                <c:pt idx="74">
                  <c:v>11453</c:v>
                </c:pt>
                <c:pt idx="75">
                  <c:v>11618</c:v>
                </c:pt>
                <c:pt idx="76">
                  <c:v>12001</c:v>
                </c:pt>
                <c:pt idx="77">
                  <c:v>12139</c:v>
                </c:pt>
                <c:pt idx="78">
                  <c:v>12405</c:v>
                </c:pt>
                <c:pt idx="79">
                  <c:v>12674</c:v>
                </c:pt>
                <c:pt idx="80">
                  <c:v>12914</c:v>
                </c:pt>
                <c:pt idx="81">
                  <c:v>13008</c:v>
                </c:pt>
                <c:pt idx="82">
                  <c:v>13099</c:v>
                </c:pt>
                <c:pt idx="83">
                  <c:v>13477</c:v>
                </c:pt>
                <c:pt idx="84">
                  <c:v>13676</c:v>
                </c:pt>
                <c:pt idx="85">
                  <c:v>13801</c:v>
                </c:pt>
                <c:pt idx="86">
                  <c:v>13996</c:v>
                </c:pt>
                <c:pt idx="87">
                  <c:v>14135</c:v>
                </c:pt>
                <c:pt idx="88">
                  <c:v>14213</c:v>
                </c:pt>
                <c:pt idx="89">
                  <c:v>14241</c:v>
                </c:pt>
                <c:pt idx="90">
                  <c:v>14454</c:v>
                </c:pt>
                <c:pt idx="91">
                  <c:v>14578</c:v>
                </c:pt>
                <c:pt idx="92">
                  <c:v>14710</c:v>
                </c:pt>
                <c:pt idx="93">
                  <c:v>14838</c:v>
                </c:pt>
                <c:pt idx="94">
                  <c:v>14980</c:v>
                </c:pt>
                <c:pt idx="95">
                  <c:v>15069</c:v>
                </c:pt>
                <c:pt idx="96">
                  <c:v>15089</c:v>
                </c:pt>
                <c:pt idx="97">
                  <c:v>15231</c:v>
                </c:pt>
                <c:pt idx="98">
                  <c:v>15320</c:v>
                </c:pt>
                <c:pt idx="99">
                  <c:v>15461</c:v>
                </c:pt>
                <c:pt idx="100">
                  <c:v>15544</c:v>
                </c:pt>
                <c:pt idx="101">
                  <c:v>15774</c:v>
                </c:pt>
                <c:pt idx="102">
                  <c:v>15841</c:v>
                </c:pt>
                <c:pt idx="103">
                  <c:v>15891</c:v>
                </c:pt>
                <c:pt idx="104">
                  <c:v>16039</c:v>
                </c:pt>
                <c:pt idx="105">
                  <c:v>16172</c:v>
                </c:pt>
                <c:pt idx="106">
                  <c:v>16272</c:v>
                </c:pt>
                <c:pt idx="107">
                  <c:v>16340</c:v>
                </c:pt>
                <c:pt idx="108">
                  <c:v>16563</c:v>
                </c:pt>
                <c:pt idx="109">
                  <c:v>16624</c:v>
                </c:pt>
                <c:pt idx="110">
                  <c:v>16645</c:v>
                </c:pt>
                <c:pt idx="111">
                  <c:v>16823</c:v>
                </c:pt>
                <c:pt idx="112">
                  <c:v>16999</c:v>
                </c:pt>
                <c:pt idx="113">
                  <c:v>17121</c:v>
                </c:pt>
                <c:pt idx="114">
                  <c:v>17139</c:v>
                </c:pt>
                <c:pt idx="115">
                  <c:v>17210</c:v>
                </c:pt>
                <c:pt idx="116">
                  <c:v>17288</c:v>
                </c:pt>
                <c:pt idx="117">
                  <c:v>17386</c:v>
                </c:pt>
                <c:pt idx="118">
                  <c:v>17551</c:v>
                </c:pt>
                <c:pt idx="119">
                  <c:v>17736</c:v>
                </c:pt>
                <c:pt idx="120">
                  <c:v>17880</c:v>
                </c:pt>
                <c:pt idx="121">
                  <c:v>18013</c:v>
                </c:pt>
                <c:pt idx="122">
                  <c:v>18078</c:v>
                </c:pt>
                <c:pt idx="123">
                  <c:v>18137</c:v>
                </c:pt>
                <c:pt idx="124">
                  <c:v>18179</c:v>
                </c:pt>
                <c:pt idx="125">
                  <c:v>18448</c:v>
                </c:pt>
                <c:pt idx="126">
                  <c:v>18601</c:v>
                </c:pt>
                <c:pt idx="127">
                  <c:v>18761</c:v>
                </c:pt>
                <c:pt idx="128">
                  <c:v>18993</c:v>
                </c:pt>
                <c:pt idx="129">
                  <c:v>19178</c:v>
                </c:pt>
                <c:pt idx="130">
                  <c:v>19239</c:v>
                </c:pt>
                <c:pt idx="131">
                  <c:v>19270</c:v>
                </c:pt>
                <c:pt idx="132">
                  <c:v>19509</c:v>
                </c:pt>
                <c:pt idx="133">
                  <c:v>19635</c:v>
                </c:pt>
                <c:pt idx="134">
                  <c:v>19810</c:v>
                </c:pt>
                <c:pt idx="135">
                  <c:v>19907</c:v>
                </c:pt>
                <c:pt idx="136">
                  <c:v>19993</c:v>
                </c:pt>
                <c:pt idx="137">
                  <c:v>20028</c:v>
                </c:pt>
                <c:pt idx="138">
                  <c:v>20073</c:v>
                </c:pt>
                <c:pt idx="139">
                  <c:v>20234</c:v>
                </c:pt>
                <c:pt idx="140">
                  <c:v>20313</c:v>
                </c:pt>
                <c:pt idx="141">
                  <c:v>20459</c:v>
                </c:pt>
                <c:pt idx="142">
                  <c:v>20565</c:v>
                </c:pt>
                <c:pt idx="143">
                  <c:v>20679</c:v>
                </c:pt>
                <c:pt idx="144">
                  <c:v>20732</c:v>
                </c:pt>
                <c:pt idx="145">
                  <c:v>20757</c:v>
                </c:pt>
                <c:pt idx="146">
                  <c:v>20841</c:v>
                </c:pt>
                <c:pt idx="147">
                  <c:v>20882</c:v>
                </c:pt>
                <c:pt idx="148">
                  <c:v>20977</c:v>
                </c:pt>
                <c:pt idx="149">
                  <c:v>21044</c:v>
                </c:pt>
                <c:pt idx="150">
                  <c:v>21081</c:v>
                </c:pt>
                <c:pt idx="151">
                  <c:v>21130</c:v>
                </c:pt>
                <c:pt idx="152">
                  <c:v>21139</c:v>
                </c:pt>
                <c:pt idx="153">
                  <c:v>21245</c:v>
                </c:pt>
                <c:pt idx="154">
                  <c:v>21339</c:v>
                </c:pt>
                <c:pt idx="155">
                  <c:v>21441</c:v>
                </c:pt>
                <c:pt idx="156">
                  <c:v>21523</c:v>
                </c:pt>
                <c:pt idx="157">
                  <c:v>21607</c:v>
                </c:pt>
                <c:pt idx="158">
                  <c:v>21650</c:v>
                </c:pt>
                <c:pt idx="159">
                  <c:v>21666</c:v>
                </c:pt>
                <c:pt idx="160">
                  <c:v>21731</c:v>
                </c:pt>
                <c:pt idx="161">
                  <c:v>21797</c:v>
                </c:pt>
                <c:pt idx="162">
                  <c:v>21864</c:v>
                </c:pt>
                <c:pt idx="163">
                  <c:v>21929</c:v>
                </c:pt>
                <c:pt idx="164">
                  <c:v>21981</c:v>
                </c:pt>
                <c:pt idx="165">
                  <c:v>21989</c:v>
                </c:pt>
                <c:pt idx="166">
                  <c:v>22002</c:v>
                </c:pt>
                <c:pt idx="167">
                  <c:v>22039</c:v>
                </c:pt>
                <c:pt idx="168">
                  <c:v>22056</c:v>
                </c:pt>
                <c:pt idx="169">
                  <c:v>22086</c:v>
                </c:pt>
                <c:pt idx="170">
                  <c:v>22113</c:v>
                </c:pt>
                <c:pt idx="171">
                  <c:v>22140</c:v>
                </c:pt>
                <c:pt idx="172">
                  <c:v>22158</c:v>
                </c:pt>
                <c:pt idx="173">
                  <c:v>22163</c:v>
                </c:pt>
                <c:pt idx="174">
                  <c:v>22252</c:v>
                </c:pt>
                <c:pt idx="175">
                  <c:v>22288</c:v>
                </c:pt>
                <c:pt idx="176">
                  <c:v>22322</c:v>
                </c:pt>
                <c:pt idx="177">
                  <c:v>22368</c:v>
                </c:pt>
                <c:pt idx="178">
                  <c:v>22414</c:v>
                </c:pt>
                <c:pt idx="179">
                  <c:v>22423</c:v>
                </c:pt>
                <c:pt idx="180">
                  <c:v>22426</c:v>
                </c:pt>
                <c:pt idx="181">
                  <c:v>22504</c:v>
                </c:pt>
                <c:pt idx="182">
                  <c:v>22532</c:v>
                </c:pt>
                <c:pt idx="183">
                  <c:v>22578</c:v>
                </c:pt>
                <c:pt idx="184">
                  <c:v>22588</c:v>
                </c:pt>
                <c:pt idx="185">
                  <c:v>22611</c:v>
                </c:pt>
                <c:pt idx="186">
                  <c:v>22616</c:v>
                </c:pt>
                <c:pt idx="187">
                  <c:v>22621</c:v>
                </c:pt>
                <c:pt idx="188">
                  <c:v>22648</c:v>
                </c:pt>
                <c:pt idx="189">
                  <c:v>22727</c:v>
                </c:pt>
                <c:pt idx="190">
                  <c:v>22782</c:v>
                </c:pt>
                <c:pt idx="191">
                  <c:v>22794</c:v>
                </c:pt>
                <c:pt idx="192">
                  <c:v>22819</c:v>
                </c:pt>
                <c:pt idx="193">
                  <c:v>22828</c:v>
                </c:pt>
                <c:pt idx="194">
                  <c:v>22834</c:v>
                </c:pt>
                <c:pt idx="195">
                  <c:v>22863</c:v>
                </c:pt>
                <c:pt idx="196">
                  <c:v>22883</c:v>
                </c:pt>
                <c:pt idx="197">
                  <c:v>22890</c:v>
                </c:pt>
                <c:pt idx="198">
                  <c:v>22927</c:v>
                </c:pt>
                <c:pt idx="199">
                  <c:v>22945</c:v>
                </c:pt>
                <c:pt idx="200">
                  <c:v>22954</c:v>
                </c:pt>
                <c:pt idx="201">
                  <c:v>22958</c:v>
                </c:pt>
                <c:pt idx="202">
                  <c:v>22971</c:v>
                </c:pt>
                <c:pt idx="203">
                  <c:v>23001</c:v>
                </c:pt>
                <c:pt idx="204">
                  <c:v>23021</c:v>
                </c:pt>
                <c:pt idx="205">
                  <c:v>23052</c:v>
                </c:pt>
                <c:pt idx="206">
                  <c:v>23058</c:v>
                </c:pt>
                <c:pt idx="207">
                  <c:v>23061</c:v>
                </c:pt>
                <c:pt idx="208">
                  <c:v>23065</c:v>
                </c:pt>
                <c:pt idx="209">
                  <c:v>23086</c:v>
                </c:pt>
                <c:pt idx="210">
                  <c:v>23097</c:v>
                </c:pt>
                <c:pt idx="211">
                  <c:v>23106</c:v>
                </c:pt>
                <c:pt idx="212">
                  <c:v>23115</c:v>
                </c:pt>
                <c:pt idx="213">
                  <c:v>23118</c:v>
                </c:pt>
                <c:pt idx="214">
                  <c:v>23122</c:v>
                </c:pt>
                <c:pt idx="215">
                  <c:v>23124</c:v>
                </c:pt>
                <c:pt idx="216">
                  <c:v>23125</c:v>
                </c:pt>
                <c:pt idx="217">
                  <c:v>23130</c:v>
                </c:pt>
                <c:pt idx="218">
                  <c:v>23148</c:v>
                </c:pt>
                <c:pt idx="219">
                  <c:v>23149</c:v>
                </c:pt>
                <c:pt idx="220">
                  <c:v>23152</c:v>
                </c:pt>
                <c:pt idx="221">
                  <c:v>23153</c:v>
                </c:pt>
                <c:pt idx="222">
                  <c:v>23153</c:v>
                </c:pt>
                <c:pt idx="223">
                  <c:v>23154</c:v>
                </c:pt>
                <c:pt idx="224">
                  <c:v>23156</c:v>
                </c:pt>
                <c:pt idx="225">
                  <c:v>23157</c:v>
                </c:pt>
                <c:pt idx="226">
                  <c:v>23160</c:v>
                </c:pt>
                <c:pt idx="227">
                  <c:v>23161</c:v>
                </c:pt>
                <c:pt idx="228">
                  <c:v>23162</c:v>
                </c:pt>
                <c:pt idx="229">
                  <c:v>23163</c:v>
                </c:pt>
                <c:pt idx="230">
                  <c:v>23168</c:v>
                </c:pt>
                <c:pt idx="231">
                  <c:v>23172</c:v>
                </c:pt>
                <c:pt idx="232">
                  <c:v>23175</c:v>
                </c:pt>
                <c:pt idx="233">
                  <c:v>23184</c:v>
                </c:pt>
                <c:pt idx="234">
                  <c:v>23188</c:v>
                </c:pt>
                <c:pt idx="235">
                  <c:v>23189</c:v>
                </c:pt>
                <c:pt idx="236">
                  <c:v>23189</c:v>
                </c:pt>
                <c:pt idx="237">
                  <c:v>23190</c:v>
                </c:pt>
                <c:pt idx="238">
                  <c:v>23193</c:v>
                </c:pt>
                <c:pt idx="239">
                  <c:v>23194</c:v>
                </c:pt>
                <c:pt idx="240">
                  <c:v>23196</c:v>
                </c:pt>
                <c:pt idx="241">
                  <c:v>23197</c:v>
                </c:pt>
                <c:pt idx="242">
                  <c:v>23197</c:v>
                </c:pt>
                <c:pt idx="243">
                  <c:v>23197</c:v>
                </c:pt>
                <c:pt idx="244">
                  <c:v>23197</c:v>
                </c:pt>
                <c:pt idx="245">
                  <c:v>23197</c:v>
                </c:pt>
                <c:pt idx="246">
                  <c:v>23199</c:v>
                </c:pt>
                <c:pt idx="247">
                  <c:v>23199</c:v>
                </c:pt>
                <c:pt idx="248">
                  <c:v>23200</c:v>
                </c:pt>
                <c:pt idx="249">
                  <c:v>23200</c:v>
                </c:pt>
                <c:pt idx="250">
                  <c:v>23203</c:v>
                </c:pt>
                <c:pt idx="251">
                  <c:v>23208</c:v>
                </c:pt>
                <c:pt idx="252">
                  <c:v>23210</c:v>
                </c:pt>
                <c:pt idx="253">
                  <c:v>23210</c:v>
                </c:pt>
                <c:pt idx="254">
                  <c:v>23212</c:v>
                </c:pt>
                <c:pt idx="255">
                  <c:v>23215</c:v>
                </c:pt>
                <c:pt idx="256">
                  <c:v>23216</c:v>
                </c:pt>
                <c:pt idx="257">
                  <c:v>23216</c:v>
                </c:pt>
                <c:pt idx="258">
                  <c:v>23219</c:v>
                </c:pt>
                <c:pt idx="259">
                  <c:v>23219</c:v>
                </c:pt>
                <c:pt idx="260">
                  <c:v>23221</c:v>
                </c:pt>
                <c:pt idx="261">
                  <c:v>23221</c:v>
                </c:pt>
                <c:pt idx="262">
                  <c:v>23221</c:v>
                </c:pt>
                <c:pt idx="263">
                  <c:v>23221</c:v>
                </c:pt>
                <c:pt idx="264">
                  <c:v>23221</c:v>
                </c:pt>
                <c:pt idx="265">
                  <c:v>23223</c:v>
                </c:pt>
                <c:pt idx="266">
                  <c:v>23223</c:v>
                </c:pt>
                <c:pt idx="267">
                  <c:v>23223</c:v>
                </c:pt>
                <c:pt idx="268">
                  <c:v>23223</c:v>
                </c:pt>
                <c:pt idx="269">
                  <c:v>23223</c:v>
                </c:pt>
                <c:pt idx="270">
                  <c:v>23223</c:v>
                </c:pt>
                <c:pt idx="271">
                  <c:v>23223</c:v>
                </c:pt>
                <c:pt idx="272">
                  <c:v>23223</c:v>
                </c:pt>
                <c:pt idx="273">
                  <c:v>23223</c:v>
                </c:pt>
                <c:pt idx="274">
                  <c:v>23226</c:v>
                </c:pt>
                <c:pt idx="275">
                  <c:v>23227</c:v>
                </c:pt>
                <c:pt idx="276">
                  <c:v>23227</c:v>
                </c:pt>
                <c:pt idx="277">
                  <c:v>23227</c:v>
                </c:pt>
                <c:pt idx="278">
                  <c:v>23227</c:v>
                </c:pt>
                <c:pt idx="279">
                  <c:v>23227</c:v>
                </c:pt>
                <c:pt idx="280">
                  <c:v>23227</c:v>
                </c:pt>
                <c:pt idx="281">
                  <c:v>23227</c:v>
                </c:pt>
                <c:pt idx="282">
                  <c:v>23227</c:v>
                </c:pt>
                <c:pt idx="283">
                  <c:v>23228</c:v>
                </c:pt>
                <c:pt idx="284">
                  <c:v>23228</c:v>
                </c:pt>
                <c:pt idx="285">
                  <c:v>23228</c:v>
                </c:pt>
                <c:pt idx="286">
                  <c:v>23228</c:v>
                </c:pt>
                <c:pt idx="287">
                  <c:v>23228</c:v>
                </c:pt>
                <c:pt idx="288">
                  <c:v>23228</c:v>
                </c:pt>
                <c:pt idx="289">
                  <c:v>23229</c:v>
                </c:pt>
                <c:pt idx="290">
                  <c:v>23229</c:v>
                </c:pt>
                <c:pt idx="291">
                  <c:v>23229</c:v>
                </c:pt>
                <c:pt idx="292">
                  <c:v>23229</c:v>
                </c:pt>
                <c:pt idx="293">
                  <c:v>23229</c:v>
                </c:pt>
                <c:pt idx="294">
                  <c:v>23229</c:v>
                </c:pt>
                <c:pt idx="295">
                  <c:v>23230</c:v>
                </c:pt>
                <c:pt idx="296">
                  <c:v>23231</c:v>
                </c:pt>
                <c:pt idx="297">
                  <c:v>23231</c:v>
                </c:pt>
                <c:pt idx="298">
                  <c:v>23231</c:v>
                </c:pt>
                <c:pt idx="299">
                  <c:v>23231</c:v>
                </c:pt>
                <c:pt idx="300">
                  <c:v>23231</c:v>
                </c:pt>
                <c:pt idx="301">
                  <c:v>23231</c:v>
                </c:pt>
                <c:pt idx="302">
                  <c:v>23231</c:v>
                </c:pt>
                <c:pt idx="303">
                  <c:v>23232</c:v>
                </c:pt>
                <c:pt idx="304">
                  <c:v>23232</c:v>
                </c:pt>
                <c:pt idx="305">
                  <c:v>23232</c:v>
                </c:pt>
                <c:pt idx="306">
                  <c:v>23233</c:v>
                </c:pt>
                <c:pt idx="307">
                  <c:v>23233</c:v>
                </c:pt>
                <c:pt idx="308">
                  <c:v>23233</c:v>
                </c:pt>
                <c:pt idx="309">
                  <c:v>23233</c:v>
                </c:pt>
                <c:pt idx="310">
                  <c:v>23234</c:v>
                </c:pt>
                <c:pt idx="311">
                  <c:v>23234</c:v>
                </c:pt>
                <c:pt idx="312">
                  <c:v>23234</c:v>
                </c:pt>
                <c:pt idx="313">
                  <c:v>23234</c:v>
                </c:pt>
                <c:pt idx="314">
                  <c:v>23234</c:v>
                </c:pt>
                <c:pt idx="315">
                  <c:v>23234</c:v>
                </c:pt>
                <c:pt idx="316">
                  <c:v>23234</c:v>
                </c:pt>
                <c:pt idx="317">
                  <c:v>23234</c:v>
                </c:pt>
                <c:pt idx="318">
                  <c:v>23234</c:v>
                </c:pt>
                <c:pt idx="319">
                  <c:v>23234</c:v>
                </c:pt>
                <c:pt idx="320">
                  <c:v>23234</c:v>
                </c:pt>
                <c:pt idx="321">
                  <c:v>23234</c:v>
                </c:pt>
                <c:pt idx="322">
                  <c:v>23234</c:v>
                </c:pt>
                <c:pt idx="323">
                  <c:v>23234</c:v>
                </c:pt>
                <c:pt idx="324">
                  <c:v>23234</c:v>
                </c:pt>
                <c:pt idx="325">
                  <c:v>23234</c:v>
                </c:pt>
                <c:pt idx="326">
                  <c:v>23235</c:v>
                </c:pt>
                <c:pt idx="327">
                  <c:v>23235</c:v>
                </c:pt>
                <c:pt idx="328">
                  <c:v>23235</c:v>
                </c:pt>
                <c:pt idx="329">
                  <c:v>23235</c:v>
                </c:pt>
                <c:pt idx="330">
                  <c:v>23235</c:v>
                </c:pt>
                <c:pt idx="331">
                  <c:v>23235</c:v>
                </c:pt>
                <c:pt idx="332">
                  <c:v>23235</c:v>
                </c:pt>
                <c:pt idx="333">
                  <c:v>23235</c:v>
                </c:pt>
                <c:pt idx="334">
                  <c:v>23235</c:v>
                </c:pt>
                <c:pt idx="335">
                  <c:v>23235</c:v>
                </c:pt>
                <c:pt idx="336">
                  <c:v>23235</c:v>
                </c:pt>
                <c:pt idx="337">
                  <c:v>23235</c:v>
                </c:pt>
                <c:pt idx="338">
                  <c:v>23235</c:v>
                </c:pt>
                <c:pt idx="339">
                  <c:v>23235</c:v>
                </c:pt>
                <c:pt idx="340">
                  <c:v>23235</c:v>
                </c:pt>
                <c:pt idx="341">
                  <c:v>23235</c:v>
                </c:pt>
                <c:pt idx="342">
                  <c:v>23235</c:v>
                </c:pt>
                <c:pt idx="343">
                  <c:v>23235</c:v>
                </c:pt>
                <c:pt idx="344">
                  <c:v>23235</c:v>
                </c:pt>
                <c:pt idx="345">
                  <c:v>23235</c:v>
                </c:pt>
                <c:pt idx="346">
                  <c:v>23235</c:v>
                </c:pt>
                <c:pt idx="347">
                  <c:v>23235</c:v>
                </c:pt>
                <c:pt idx="348">
                  <c:v>23235</c:v>
                </c:pt>
                <c:pt idx="349">
                  <c:v>23236</c:v>
                </c:pt>
                <c:pt idx="350">
                  <c:v>23237</c:v>
                </c:pt>
                <c:pt idx="351">
                  <c:v>23237</c:v>
                </c:pt>
                <c:pt idx="352">
                  <c:v>23238</c:v>
                </c:pt>
                <c:pt idx="353">
                  <c:v>23238</c:v>
                </c:pt>
                <c:pt idx="354">
                  <c:v>23238</c:v>
                </c:pt>
                <c:pt idx="355">
                  <c:v>23238</c:v>
                </c:pt>
                <c:pt idx="356">
                  <c:v>23240</c:v>
                </c:pt>
                <c:pt idx="357">
                  <c:v>23240</c:v>
                </c:pt>
                <c:pt idx="358">
                  <c:v>23240</c:v>
                </c:pt>
                <c:pt idx="359">
                  <c:v>23240</c:v>
                </c:pt>
                <c:pt idx="360">
                  <c:v>23240</c:v>
                </c:pt>
                <c:pt idx="361">
                  <c:v>23240</c:v>
                </c:pt>
                <c:pt idx="362">
                  <c:v>23240</c:v>
                </c:pt>
                <c:pt idx="363">
                  <c:v>23240</c:v>
                </c:pt>
                <c:pt idx="364">
                  <c:v>23240</c:v>
                </c:pt>
                <c:pt idx="365">
                  <c:v>23241</c:v>
                </c:pt>
                <c:pt idx="366">
                  <c:v>23245</c:v>
                </c:pt>
                <c:pt idx="367">
                  <c:v>23247</c:v>
                </c:pt>
                <c:pt idx="368">
                  <c:v>23248</c:v>
                </c:pt>
                <c:pt idx="369">
                  <c:v>23248</c:v>
                </c:pt>
                <c:pt idx="370">
                  <c:v>23252</c:v>
                </c:pt>
                <c:pt idx="371">
                  <c:v>23252</c:v>
                </c:pt>
                <c:pt idx="372">
                  <c:v>23252</c:v>
                </c:pt>
                <c:pt idx="373">
                  <c:v>23253</c:v>
                </c:pt>
                <c:pt idx="374">
                  <c:v>23253</c:v>
                </c:pt>
                <c:pt idx="375">
                  <c:v>23253</c:v>
                </c:pt>
                <c:pt idx="376">
                  <c:v>23253</c:v>
                </c:pt>
                <c:pt idx="377">
                  <c:v>23254</c:v>
                </c:pt>
                <c:pt idx="378">
                  <c:v>23254</c:v>
                </c:pt>
                <c:pt idx="379">
                  <c:v>23254</c:v>
                </c:pt>
                <c:pt idx="380">
                  <c:v>23254</c:v>
                </c:pt>
                <c:pt idx="381">
                  <c:v>23254</c:v>
                </c:pt>
                <c:pt idx="382">
                  <c:v>23254</c:v>
                </c:pt>
                <c:pt idx="383">
                  <c:v>23254</c:v>
                </c:pt>
                <c:pt idx="384">
                  <c:v>23255</c:v>
                </c:pt>
                <c:pt idx="385">
                  <c:v>23259</c:v>
                </c:pt>
                <c:pt idx="386">
                  <c:v>23260</c:v>
                </c:pt>
                <c:pt idx="387">
                  <c:v>23260</c:v>
                </c:pt>
                <c:pt idx="388">
                  <c:v>23260</c:v>
                </c:pt>
                <c:pt idx="389">
                  <c:v>23260</c:v>
                </c:pt>
                <c:pt idx="390">
                  <c:v>23260</c:v>
                </c:pt>
                <c:pt idx="391">
                  <c:v>23262</c:v>
                </c:pt>
                <c:pt idx="392">
                  <c:v>23262</c:v>
                </c:pt>
                <c:pt idx="393">
                  <c:v>23263</c:v>
                </c:pt>
                <c:pt idx="394">
                  <c:v>23263</c:v>
                </c:pt>
                <c:pt idx="395">
                  <c:v>23264</c:v>
                </c:pt>
                <c:pt idx="396">
                  <c:v>23265</c:v>
                </c:pt>
                <c:pt idx="397">
                  <c:v>23266</c:v>
                </c:pt>
                <c:pt idx="398">
                  <c:v>23268</c:v>
                </c:pt>
                <c:pt idx="399">
                  <c:v>23270</c:v>
                </c:pt>
                <c:pt idx="400">
                  <c:v>23281</c:v>
                </c:pt>
                <c:pt idx="401">
                  <c:v>23283</c:v>
                </c:pt>
                <c:pt idx="402">
                  <c:v>23308</c:v>
                </c:pt>
                <c:pt idx="403">
                  <c:v>23309</c:v>
                </c:pt>
                <c:pt idx="404">
                  <c:v>23309</c:v>
                </c:pt>
                <c:pt idx="405">
                  <c:v>23310</c:v>
                </c:pt>
                <c:pt idx="406">
                  <c:v>23310</c:v>
                </c:pt>
                <c:pt idx="407">
                  <c:v>23330</c:v>
                </c:pt>
                <c:pt idx="408">
                  <c:v>23333</c:v>
                </c:pt>
                <c:pt idx="409">
                  <c:v>23335</c:v>
                </c:pt>
                <c:pt idx="410">
                  <c:v>23335</c:v>
                </c:pt>
                <c:pt idx="411">
                  <c:v>23335</c:v>
                </c:pt>
                <c:pt idx="412">
                  <c:v>23341</c:v>
                </c:pt>
                <c:pt idx="413">
                  <c:v>23346</c:v>
                </c:pt>
                <c:pt idx="414">
                  <c:v>23350</c:v>
                </c:pt>
                <c:pt idx="415">
                  <c:v>23352</c:v>
                </c:pt>
                <c:pt idx="416">
                  <c:v>23357</c:v>
                </c:pt>
                <c:pt idx="417">
                  <c:v>23358</c:v>
                </c:pt>
                <c:pt idx="418">
                  <c:v>23359</c:v>
                </c:pt>
                <c:pt idx="419">
                  <c:v>23373</c:v>
                </c:pt>
                <c:pt idx="420">
                  <c:v>23382</c:v>
                </c:pt>
                <c:pt idx="421">
                  <c:v>23393</c:v>
                </c:pt>
                <c:pt idx="422">
                  <c:v>23393</c:v>
                </c:pt>
                <c:pt idx="423">
                  <c:v>23411</c:v>
                </c:pt>
                <c:pt idx="424">
                  <c:v>23418</c:v>
                </c:pt>
                <c:pt idx="425">
                  <c:v>23429</c:v>
                </c:pt>
                <c:pt idx="426">
                  <c:v>23464</c:v>
                </c:pt>
                <c:pt idx="427">
                  <c:v>23478</c:v>
                </c:pt>
                <c:pt idx="428">
                  <c:v>23494</c:v>
                </c:pt>
                <c:pt idx="429">
                  <c:v>23546</c:v>
                </c:pt>
                <c:pt idx="430">
                  <c:v>23569</c:v>
                </c:pt>
                <c:pt idx="431">
                  <c:v>23575</c:v>
                </c:pt>
                <c:pt idx="432">
                  <c:v>23580</c:v>
                </c:pt>
                <c:pt idx="433">
                  <c:v>23609</c:v>
                </c:pt>
                <c:pt idx="434">
                  <c:v>23638</c:v>
                </c:pt>
                <c:pt idx="435">
                  <c:v>23653</c:v>
                </c:pt>
                <c:pt idx="436">
                  <c:v>23671</c:v>
                </c:pt>
                <c:pt idx="437">
                  <c:v>23688</c:v>
                </c:pt>
                <c:pt idx="438">
                  <c:v>23701</c:v>
                </c:pt>
                <c:pt idx="439">
                  <c:v>23715</c:v>
                </c:pt>
                <c:pt idx="440">
                  <c:v>23758</c:v>
                </c:pt>
                <c:pt idx="441">
                  <c:v>23790</c:v>
                </c:pt>
                <c:pt idx="442">
                  <c:v>23813</c:v>
                </c:pt>
                <c:pt idx="443">
                  <c:v>23868</c:v>
                </c:pt>
                <c:pt idx="444">
                  <c:v>23953</c:v>
                </c:pt>
                <c:pt idx="445">
                  <c:v>23979</c:v>
                </c:pt>
                <c:pt idx="446">
                  <c:v>23988</c:v>
                </c:pt>
                <c:pt idx="447">
                  <c:v>24036</c:v>
                </c:pt>
                <c:pt idx="448">
                  <c:v>24059</c:v>
                </c:pt>
                <c:pt idx="449">
                  <c:v>24100</c:v>
                </c:pt>
                <c:pt idx="450">
                  <c:v>24129</c:v>
                </c:pt>
                <c:pt idx="451">
                  <c:v>24181</c:v>
                </c:pt>
                <c:pt idx="452">
                  <c:v>24186</c:v>
                </c:pt>
                <c:pt idx="453">
                  <c:v>24193</c:v>
                </c:pt>
                <c:pt idx="454">
                  <c:v>24235</c:v>
                </c:pt>
                <c:pt idx="455">
                  <c:v>24249</c:v>
                </c:pt>
                <c:pt idx="456">
                  <c:v>24279</c:v>
                </c:pt>
                <c:pt idx="457">
                  <c:v>24310</c:v>
                </c:pt>
                <c:pt idx="458">
                  <c:v>24323</c:v>
                </c:pt>
                <c:pt idx="459">
                  <c:v>24361</c:v>
                </c:pt>
                <c:pt idx="460">
                  <c:v>24367</c:v>
                </c:pt>
                <c:pt idx="461">
                  <c:v>24396</c:v>
                </c:pt>
                <c:pt idx="462">
                  <c:v>24419</c:v>
                </c:pt>
                <c:pt idx="463">
                  <c:v>24437</c:v>
                </c:pt>
                <c:pt idx="464">
                  <c:v>24468</c:v>
                </c:pt>
                <c:pt idx="465">
                  <c:v>24496</c:v>
                </c:pt>
                <c:pt idx="466">
                  <c:v>24502</c:v>
                </c:pt>
                <c:pt idx="467">
                  <c:v>24502</c:v>
                </c:pt>
                <c:pt idx="468">
                  <c:v>24518</c:v>
                </c:pt>
                <c:pt idx="469">
                  <c:v>24545</c:v>
                </c:pt>
                <c:pt idx="470">
                  <c:v>24560</c:v>
                </c:pt>
                <c:pt idx="471">
                  <c:v>24567</c:v>
                </c:pt>
                <c:pt idx="472">
                  <c:v>24579</c:v>
                </c:pt>
                <c:pt idx="473">
                  <c:v>24581</c:v>
                </c:pt>
                <c:pt idx="474">
                  <c:v>24584</c:v>
                </c:pt>
                <c:pt idx="475">
                  <c:v>24598</c:v>
                </c:pt>
                <c:pt idx="476">
                  <c:v>24606</c:v>
                </c:pt>
                <c:pt idx="477">
                  <c:v>24609</c:v>
                </c:pt>
                <c:pt idx="478">
                  <c:v>24614</c:v>
                </c:pt>
                <c:pt idx="479">
                  <c:v>24614</c:v>
                </c:pt>
                <c:pt idx="480">
                  <c:v>24619</c:v>
                </c:pt>
                <c:pt idx="481">
                  <c:v>24619</c:v>
                </c:pt>
                <c:pt idx="482">
                  <c:v>24629</c:v>
                </c:pt>
                <c:pt idx="483">
                  <c:v>24635</c:v>
                </c:pt>
                <c:pt idx="484">
                  <c:v>24640</c:v>
                </c:pt>
                <c:pt idx="485">
                  <c:v>24642</c:v>
                </c:pt>
                <c:pt idx="486">
                  <c:v>24652</c:v>
                </c:pt>
                <c:pt idx="487">
                  <c:v>24654</c:v>
                </c:pt>
                <c:pt idx="488">
                  <c:v>24654</c:v>
                </c:pt>
                <c:pt idx="489">
                  <c:v>24658</c:v>
                </c:pt>
                <c:pt idx="490">
                  <c:v>24663</c:v>
                </c:pt>
                <c:pt idx="491">
                  <c:v>24669</c:v>
                </c:pt>
                <c:pt idx="492">
                  <c:v>24674</c:v>
                </c:pt>
                <c:pt idx="493">
                  <c:v>24681</c:v>
                </c:pt>
                <c:pt idx="494">
                  <c:v>24681</c:v>
                </c:pt>
                <c:pt idx="495">
                  <c:v>24683</c:v>
                </c:pt>
                <c:pt idx="496">
                  <c:v>24684</c:v>
                </c:pt>
                <c:pt idx="497">
                  <c:v>24693</c:v>
                </c:pt>
                <c:pt idx="498">
                  <c:v>24696</c:v>
                </c:pt>
                <c:pt idx="499">
                  <c:v>24700</c:v>
                </c:pt>
                <c:pt idx="500">
                  <c:v>24709</c:v>
                </c:pt>
                <c:pt idx="501">
                  <c:v>24709</c:v>
                </c:pt>
                <c:pt idx="502">
                  <c:v>24712</c:v>
                </c:pt>
                <c:pt idx="503">
                  <c:v>24725</c:v>
                </c:pt>
                <c:pt idx="504">
                  <c:v>24733</c:v>
                </c:pt>
                <c:pt idx="505">
                  <c:v>24742</c:v>
                </c:pt>
                <c:pt idx="506">
                  <c:v>24759</c:v>
                </c:pt>
                <c:pt idx="507">
                  <c:v>24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List1!$C$2:$C$509</c:f>
              <c:numCache>
                <c:formatCode>General</c:formatCode>
                <c:ptCount val="50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3</c:v>
                </c:pt>
                <c:pt idx="22">
                  <c:v>34</c:v>
                </c:pt>
                <c:pt idx="23">
                  <c:v>38</c:v>
                </c:pt>
                <c:pt idx="24">
                  <c:v>50</c:v>
                </c:pt>
                <c:pt idx="25">
                  <c:v>57</c:v>
                </c:pt>
                <c:pt idx="26">
                  <c:v>59</c:v>
                </c:pt>
                <c:pt idx="27">
                  <c:v>63</c:v>
                </c:pt>
                <c:pt idx="28">
                  <c:v>87</c:v>
                </c:pt>
                <c:pt idx="29">
                  <c:v>97</c:v>
                </c:pt>
                <c:pt idx="30">
                  <c:v>127</c:v>
                </c:pt>
                <c:pt idx="31">
                  <c:v>222</c:v>
                </c:pt>
                <c:pt idx="32">
                  <c:v>253</c:v>
                </c:pt>
                <c:pt idx="33">
                  <c:v>283</c:v>
                </c:pt>
                <c:pt idx="34">
                  <c:v>374</c:v>
                </c:pt>
                <c:pt idx="35">
                  <c:v>420</c:v>
                </c:pt>
                <c:pt idx="36">
                  <c:v>463</c:v>
                </c:pt>
                <c:pt idx="37">
                  <c:v>548</c:v>
                </c:pt>
                <c:pt idx="38">
                  <c:v>635</c:v>
                </c:pt>
                <c:pt idx="39">
                  <c:v>686</c:v>
                </c:pt>
                <c:pt idx="40">
                  <c:v>711</c:v>
                </c:pt>
                <c:pt idx="41">
                  <c:v>874</c:v>
                </c:pt>
                <c:pt idx="42">
                  <c:v>1030</c:v>
                </c:pt>
                <c:pt idx="43">
                  <c:v>1222</c:v>
                </c:pt>
                <c:pt idx="44">
                  <c:v>1424</c:v>
                </c:pt>
                <c:pt idx="45">
                  <c:v>1636</c:v>
                </c:pt>
                <c:pt idx="46">
                  <c:v>1743</c:v>
                </c:pt>
                <c:pt idx="47">
                  <c:v>1791</c:v>
                </c:pt>
                <c:pt idx="48">
                  <c:v>1985</c:v>
                </c:pt>
                <c:pt idx="49">
                  <c:v>2178</c:v>
                </c:pt>
                <c:pt idx="50">
                  <c:v>2438</c:v>
                </c:pt>
                <c:pt idx="51">
                  <c:v>2673</c:v>
                </c:pt>
                <c:pt idx="52">
                  <c:v>3008</c:v>
                </c:pt>
                <c:pt idx="53">
                  <c:v>3195</c:v>
                </c:pt>
                <c:pt idx="54">
                  <c:v>3285</c:v>
                </c:pt>
                <c:pt idx="55">
                  <c:v>3662</c:v>
                </c:pt>
                <c:pt idx="56">
                  <c:v>4061</c:v>
                </c:pt>
                <c:pt idx="57">
                  <c:v>4196</c:v>
                </c:pt>
                <c:pt idx="58">
                  <c:v>4668</c:v>
                </c:pt>
                <c:pt idx="59">
                  <c:v>5001</c:v>
                </c:pt>
                <c:pt idx="60">
                  <c:v>5185</c:v>
                </c:pt>
                <c:pt idx="61">
                  <c:v>5302</c:v>
                </c:pt>
                <c:pt idx="62">
                  <c:v>5601</c:v>
                </c:pt>
                <c:pt idx="63">
                  <c:v>5834</c:v>
                </c:pt>
                <c:pt idx="64">
                  <c:v>6167</c:v>
                </c:pt>
                <c:pt idx="65">
                  <c:v>6449</c:v>
                </c:pt>
                <c:pt idx="66">
                  <c:v>6691</c:v>
                </c:pt>
                <c:pt idx="67">
                  <c:v>6809</c:v>
                </c:pt>
                <c:pt idx="68">
                  <c:v>6859</c:v>
                </c:pt>
                <c:pt idx="69">
                  <c:v>7057</c:v>
                </c:pt>
                <c:pt idx="70">
                  <c:v>7262</c:v>
                </c:pt>
                <c:pt idx="71">
                  <c:v>7525</c:v>
                </c:pt>
                <c:pt idx="72">
                  <c:v>7757</c:v>
                </c:pt>
                <c:pt idx="73">
                  <c:v>7961</c:v>
                </c:pt>
                <c:pt idx="74">
                  <c:v>8034</c:v>
                </c:pt>
                <c:pt idx="75">
                  <c:v>8064</c:v>
                </c:pt>
                <c:pt idx="76">
                  <c:v>8246</c:v>
                </c:pt>
                <c:pt idx="77">
                  <c:v>8292</c:v>
                </c:pt>
                <c:pt idx="78">
                  <c:v>8455</c:v>
                </c:pt>
                <c:pt idx="79">
                  <c:v>8584</c:v>
                </c:pt>
                <c:pt idx="80">
                  <c:v>8705</c:v>
                </c:pt>
                <c:pt idx="81">
                  <c:v>8742</c:v>
                </c:pt>
                <c:pt idx="82">
                  <c:v>8759</c:v>
                </c:pt>
                <c:pt idx="83">
                  <c:v>8899</c:v>
                </c:pt>
                <c:pt idx="84">
                  <c:v>9007</c:v>
                </c:pt>
                <c:pt idx="85">
                  <c:v>9101</c:v>
                </c:pt>
                <c:pt idx="86">
                  <c:v>9158</c:v>
                </c:pt>
                <c:pt idx="87">
                  <c:v>9239</c:v>
                </c:pt>
                <c:pt idx="88">
                  <c:v>9262</c:v>
                </c:pt>
                <c:pt idx="89">
                  <c:v>9278</c:v>
                </c:pt>
                <c:pt idx="90">
                  <c:v>9383</c:v>
                </c:pt>
                <c:pt idx="91">
                  <c:v>9469</c:v>
                </c:pt>
                <c:pt idx="92">
                  <c:v>9535</c:v>
                </c:pt>
                <c:pt idx="93">
                  <c:v>9594</c:v>
                </c:pt>
                <c:pt idx="94">
                  <c:v>9684</c:v>
                </c:pt>
                <c:pt idx="95">
                  <c:v>9724</c:v>
                </c:pt>
                <c:pt idx="96">
                  <c:v>9750</c:v>
                </c:pt>
                <c:pt idx="97">
                  <c:v>9870</c:v>
                </c:pt>
                <c:pt idx="98">
                  <c:v>9946</c:v>
                </c:pt>
                <c:pt idx="99">
                  <c:v>10009</c:v>
                </c:pt>
                <c:pt idx="100">
                  <c:v>10068</c:v>
                </c:pt>
                <c:pt idx="101">
                  <c:v>10146</c:v>
                </c:pt>
                <c:pt idx="102">
                  <c:v>10167</c:v>
                </c:pt>
                <c:pt idx="103">
                  <c:v>10184</c:v>
                </c:pt>
                <c:pt idx="104">
                  <c:v>10315</c:v>
                </c:pt>
                <c:pt idx="105">
                  <c:v>10386</c:v>
                </c:pt>
                <c:pt idx="106">
                  <c:v>10482</c:v>
                </c:pt>
                <c:pt idx="107">
                  <c:v>10533</c:v>
                </c:pt>
                <c:pt idx="108">
                  <c:v>10617</c:v>
                </c:pt>
                <c:pt idx="109">
                  <c:v>10645</c:v>
                </c:pt>
                <c:pt idx="110">
                  <c:v>10673</c:v>
                </c:pt>
                <c:pt idx="111">
                  <c:v>10832</c:v>
                </c:pt>
                <c:pt idx="112">
                  <c:v>10943</c:v>
                </c:pt>
                <c:pt idx="113">
                  <c:v>11061</c:v>
                </c:pt>
                <c:pt idx="114">
                  <c:v>11089</c:v>
                </c:pt>
                <c:pt idx="115">
                  <c:v>11134</c:v>
                </c:pt>
                <c:pt idx="116">
                  <c:v>11183</c:v>
                </c:pt>
                <c:pt idx="117">
                  <c:v>11230</c:v>
                </c:pt>
                <c:pt idx="118">
                  <c:v>11422</c:v>
                </c:pt>
                <c:pt idx="119">
                  <c:v>11569</c:v>
                </c:pt>
                <c:pt idx="120">
                  <c:v>11681</c:v>
                </c:pt>
                <c:pt idx="121">
                  <c:v>11767</c:v>
                </c:pt>
                <c:pt idx="122">
                  <c:v>11796</c:v>
                </c:pt>
                <c:pt idx="123">
                  <c:v>11856</c:v>
                </c:pt>
                <c:pt idx="124">
                  <c:v>11891</c:v>
                </c:pt>
                <c:pt idx="125">
                  <c:v>12169</c:v>
                </c:pt>
                <c:pt idx="126">
                  <c:v>12315</c:v>
                </c:pt>
                <c:pt idx="127">
                  <c:v>12428</c:v>
                </c:pt>
                <c:pt idx="128">
                  <c:v>12528</c:v>
                </c:pt>
                <c:pt idx="129">
                  <c:v>12650</c:v>
                </c:pt>
                <c:pt idx="130">
                  <c:v>12699</c:v>
                </c:pt>
                <c:pt idx="131">
                  <c:v>12726</c:v>
                </c:pt>
                <c:pt idx="132">
                  <c:v>12957</c:v>
                </c:pt>
                <c:pt idx="133">
                  <c:v>13054</c:v>
                </c:pt>
                <c:pt idx="134">
                  <c:v>13163</c:v>
                </c:pt>
                <c:pt idx="135">
                  <c:v>13216</c:v>
                </c:pt>
                <c:pt idx="136">
                  <c:v>13281</c:v>
                </c:pt>
                <c:pt idx="137">
                  <c:v>13314</c:v>
                </c:pt>
                <c:pt idx="138">
                  <c:v>13340</c:v>
                </c:pt>
                <c:pt idx="139">
                  <c:v>13466</c:v>
                </c:pt>
                <c:pt idx="140">
                  <c:v>13541</c:v>
                </c:pt>
                <c:pt idx="141">
                  <c:v>13612</c:v>
                </c:pt>
                <c:pt idx="142">
                  <c:v>13672</c:v>
                </c:pt>
                <c:pt idx="143">
                  <c:v>13752</c:v>
                </c:pt>
                <c:pt idx="144">
                  <c:v>13779</c:v>
                </c:pt>
                <c:pt idx="145">
                  <c:v>13791</c:v>
                </c:pt>
                <c:pt idx="146">
                  <c:v>13880</c:v>
                </c:pt>
                <c:pt idx="147">
                  <c:v>13956</c:v>
                </c:pt>
                <c:pt idx="148">
                  <c:v>14016</c:v>
                </c:pt>
                <c:pt idx="149">
                  <c:v>14049</c:v>
                </c:pt>
                <c:pt idx="150">
                  <c:v>14095</c:v>
                </c:pt>
                <c:pt idx="151">
                  <c:v>14125</c:v>
                </c:pt>
                <c:pt idx="152">
                  <c:v>14134</c:v>
                </c:pt>
                <c:pt idx="153">
                  <c:v>14214</c:v>
                </c:pt>
                <c:pt idx="154">
                  <c:v>14284</c:v>
                </c:pt>
                <c:pt idx="155">
                  <c:v>14343</c:v>
                </c:pt>
                <c:pt idx="156">
                  <c:v>14386</c:v>
                </c:pt>
                <c:pt idx="157">
                  <c:v>14435</c:v>
                </c:pt>
                <c:pt idx="158">
                  <c:v>14446</c:v>
                </c:pt>
                <c:pt idx="159">
                  <c:v>14464</c:v>
                </c:pt>
                <c:pt idx="160">
                  <c:v>14535</c:v>
                </c:pt>
                <c:pt idx="161">
                  <c:v>14556</c:v>
                </c:pt>
                <c:pt idx="162">
                  <c:v>14590</c:v>
                </c:pt>
                <c:pt idx="163">
                  <c:v>14629</c:v>
                </c:pt>
                <c:pt idx="164">
                  <c:v>14669</c:v>
                </c:pt>
                <c:pt idx="165">
                  <c:v>14684</c:v>
                </c:pt>
                <c:pt idx="166">
                  <c:v>14694</c:v>
                </c:pt>
                <c:pt idx="167">
                  <c:v>14757</c:v>
                </c:pt>
                <c:pt idx="168">
                  <c:v>14790</c:v>
                </c:pt>
                <c:pt idx="169">
                  <c:v>14826</c:v>
                </c:pt>
                <c:pt idx="170">
                  <c:v>14855</c:v>
                </c:pt>
                <c:pt idx="171">
                  <c:v>14890</c:v>
                </c:pt>
                <c:pt idx="172">
                  <c:v>14896</c:v>
                </c:pt>
                <c:pt idx="173">
                  <c:v>14914</c:v>
                </c:pt>
                <c:pt idx="174">
                  <c:v>14989</c:v>
                </c:pt>
                <c:pt idx="175">
                  <c:v>15034</c:v>
                </c:pt>
                <c:pt idx="176">
                  <c:v>15068</c:v>
                </c:pt>
                <c:pt idx="177">
                  <c:v>15101</c:v>
                </c:pt>
                <c:pt idx="178">
                  <c:v>15140</c:v>
                </c:pt>
                <c:pt idx="179">
                  <c:v>15149</c:v>
                </c:pt>
                <c:pt idx="180">
                  <c:v>15158</c:v>
                </c:pt>
                <c:pt idx="181">
                  <c:v>15217</c:v>
                </c:pt>
                <c:pt idx="182">
                  <c:v>15257</c:v>
                </c:pt>
                <c:pt idx="183">
                  <c:v>15313</c:v>
                </c:pt>
                <c:pt idx="184">
                  <c:v>15353</c:v>
                </c:pt>
                <c:pt idx="185">
                  <c:v>15381</c:v>
                </c:pt>
                <c:pt idx="186">
                  <c:v>15395</c:v>
                </c:pt>
                <c:pt idx="187">
                  <c:v>15405</c:v>
                </c:pt>
                <c:pt idx="188">
                  <c:v>15467</c:v>
                </c:pt>
                <c:pt idx="189">
                  <c:v>15504</c:v>
                </c:pt>
                <c:pt idx="190">
                  <c:v>15534</c:v>
                </c:pt>
                <c:pt idx="191">
                  <c:v>15560</c:v>
                </c:pt>
                <c:pt idx="192">
                  <c:v>15578</c:v>
                </c:pt>
                <c:pt idx="193">
                  <c:v>15589</c:v>
                </c:pt>
                <c:pt idx="194">
                  <c:v>15596</c:v>
                </c:pt>
                <c:pt idx="195">
                  <c:v>15634</c:v>
                </c:pt>
                <c:pt idx="196">
                  <c:v>15658</c:v>
                </c:pt>
                <c:pt idx="197">
                  <c:v>15682</c:v>
                </c:pt>
                <c:pt idx="198">
                  <c:v>15698</c:v>
                </c:pt>
                <c:pt idx="199">
                  <c:v>15719</c:v>
                </c:pt>
                <c:pt idx="200">
                  <c:v>15721</c:v>
                </c:pt>
                <c:pt idx="201">
                  <c:v>15725</c:v>
                </c:pt>
                <c:pt idx="202">
                  <c:v>15757</c:v>
                </c:pt>
                <c:pt idx="203">
                  <c:v>15775</c:v>
                </c:pt>
                <c:pt idx="204">
                  <c:v>15785</c:v>
                </c:pt>
                <c:pt idx="205">
                  <c:v>15793</c:v>
                </c:pt>
                <c:pt idx="206">
                  <c:v>15809</c:v>
                </c:pt>
                <c:pt idx="207">
                  <c:v>15812</c:v>
                </c:pt>
                <c:pt idx="208">
                  <c:v>15813</c:v>
                </c:pt>
                <c:pt idx="209">
                  <c:v>15832</c:v>
                </c:pt>
                <c:pt idx="210">
                  <c:v>15846</c:v>
                </c:pt>
                <c:pt idx="211">
                  <c:v>15859</c:v>
                </c:pt>
                <c:pt idx="212">
                  <c:v>15871</c:v>
                </c:pt>
                <c:pt idx="213">
                  <c:v>15874</c:v>
                </c:pt>
                <c:pt idx="214">
                  <c:v>15877</c:v>
                </c:pt>
                <c:pt idx="215">
                  <c:v>15879</c:v>
                </c:pt>
                <c:pt idx="216">
                  <c:v>15884</c:v>
                </c:pt>
                <c:pt idx="217">
                  <c:v>15906</c:v>
                </c:pt>
                <c:pt idx="218">
                  <c:v>15922</c:v>
                </c:pt>
                <c:pt idx="219">
                  <c:v>15938</c:v>
                </c:pt>
                <c:pt idx="220">
                  <c:v>15946</c:v>
                </c:pt>
                <c:pt idx="221">
                  <c:v>15951</c:v>
                </c:pt>
                <c:pt idx="222">
                  <c:v>15952</c:v>
                </c:pt>
                <c:pt idx="223">
                  <c:v>15960</c:v>
                </c:pt>
                <c:pt idx="224">
                  <c:v>15966</c:v>
                </c:pt>
                <c:pt idx="225">
                  <c:v>15970</c:v>
                </c:pt>
                <c:pt idx="226">
                  <c:v>15976</c:v>
                </c:pt>
                <c:pt idx="227">
                  <c:v>15982</c:v>
                </c:pt>
                <c:pt idx="228">
                  <c:v>15983</c:v>
                </c:pt>
                <c:pt idx="229">
                  <c:v>15984</c:v>
                </c:pt>
                <c:pt idx="230">
                  <c:v>15994</c:v>
                </c:pt>
                <c:pt idx="231">
                  <c:v>15998</c:v>
                </c:pt>
                <c:pt idx="232">
                  <c:v>16002</c:v>
                </c:pt>
                <c:pt idx="233">
                  <c:v>16006</c:v>
                </c:pt>
                <c:pt idx="234">
                  <c:v>16009</c:v>
                </c:pt>
                <c:pt idx="235">
                  <c:v>16010</c:v>
                </c:pt>
                <c:pt idx="236">
                  <c:v>16010</c:v>
                </c:pt>
                <c:pt idx="237">
                  <c:v>16018</c:v>
                </c:pt>
                <c:pt idx="238">
                  <c:v>16025</c:v>
                </c:pt>
                <c:pt idx="239">
                  <c:v>16027</c:v>
                </c:pt>
                <c:pt idx="240">
                  <c:v>16029</c:v>
                </c:pt>
                <c:pt idx="241">
                  <c:v>16034</c:v>
                </c:pt>
                <c:pt idx="242">
                  <c:v>16034</c:v>
                </c:pt>
                <c:pt idx="243">
                  <c:v>16035</c:v>
                </c:pt>
                <c:pt idx="244">
                  <c:v>16037</c:v>
                </c:pt>
                <c:pt idx="245">
                  <c:v>16039</c:v>
                </c:pt>
                <c:pt idx="246">
                  <c:v>16040</c:v>
                </c:pt>
                <c:pt idx="247">
                  <c:v>16045</c:v>
                </c:pt>
                <c:pt idx="248">
                  <c:v>16047</c:v>
                </c:pt>
                <c:pt idx="249">
                  <c:v>16048</c:v>
                </c:pt>
                <c:pt idx="250">
                  <c:v>16048</c:v>
                </c:pt>
                <c:pt idx="251">
                  <c:v>16049</c:v>
                </c:pt>
                <c:pt idx="252">
                  <c:v>16053</c:v>
                </c:pt>
                <c:pt idx="253">
                  <c:v>16053</c:v>
                </c:pt>
                <c:pt idx="254">
                  <c:v>16055</c:v>
                </c:pt>
                <c:pt idx="255">
                  <c:v>16056</c:v>
                </c:pt>
                <c:pt idx="256">
                  <c:v>16056</c:v>
                </c:pt>
                <c:pt idx="257">
                  <c:v>16056</c:v>
                </c:pt>
                <c:pt idx="258">
                  <c:v>16061</c:v>
                </c:pt>
                <c:pt idx="259">
                  <c:v>16065</c:v>
                </c:pt>
                <c:pt idx="260">
                  <c:v>16067</c:v>
                </c:pt>
                <c:pt idx="261">
                  <c:v>16070</c:v>
                </c:pt>
                <c:pt idx="262">
                  <c:v>16071</c:v>
                </c:pt>
                <c:pt idx="263">
                  <c:v>16071</c:v>
                </c:pt>
                <c:pt idx="264">
                  <c:v>16071</c:v>
                </c:pt>
                <c:pt idx="265">
                  <c:v>16073</c:v>
                </c:pt>
                <c:pt idx="266">
                  <c:v>16074</c:v>
                </c:pt>
                <c:pt idx="267">
                  <c:v>16075</c:v>
                </c:pt>
                <c:pt idx="268">
                  <c:v>16076</c:v>
                </c:pt>
                <c:pt idx="269">
                  <c:v>16076</c:v>
                </c:pt>
                <c:pt idx="270">
                  <c:v>16076</c:v>
                </c:pt>
                <c:pt idx="271">
                  <c:v>16076</c:v>
                </c:pt>
                <c:pt idx="272">
                  <c:v>16076</c:v>
                </c:pt>
                <c:pt idx="273">
                  <c:v>16076</c:v>
                </c:pt>
                <c:pt idx="274">
                  <c:v>16076</c:v>
                </c:pt>
                <c:pt idx="275">
                  <c:v>16077</c:v>
                </c:pt>
                <c:pt idx="276">
                  <c:v>16077</c:v>
                </c:pt>
                <c:pt idx="277">
                  <c:v>16077</c:v>
                </c:pt>
                <c:pt idx="278">
                  <c:v>16077</c:v>
                </c:pt>
                <c:pt idx="279">
                  <c:v>16077</c:v>
                </c:pt>
                <c:pt idx="280">
                  <c:v>16077</c:v>
                </c:pt>
                <c:pt idx="281">
                  <c:v>16077</c:v>
                </c:pt>
                <c:pt idx="282">
                  <c:v>16077</c:v>
                </c:pt>
                <c:pt idx="283">
                  <c:v>16077</c:v>
                </c:pt>
                <c:pt idx="284">
                  <c:v>16077</c:v>
                </c:pt>
                <c:pt idx="285">
                  <c:v>16077</c:v>
                </c:pt>
                <c:pt idx="286">
                  <c:v>16077</c:v>
                </c:pt>
                <c:pt idx="287">
                  <c:v>16077</c:v>
                </c:pt>
                <c:pt idx="288">
                  <c:v>16077</c:v>
                </c:pt>
                <c:pt idx="289">
                  <c:v>16077</c:v>
                </c:pt>
                <c:pt idx="290">
                  <c:v>16077</c:v>
                </c:pt>
                <c:pt idx="291">
                  <c:v>16077</c:v>
                </c:pt>
                <c:pt idx="292">
                  <c:v>16077</c:v>
                </c:pt>
                <c:pt idx="293">
                  <c:v>16077</c:v>
                </c:pt>
                <c:pt idx="294">
                  <c:v>16077</c:v>
                </c:pt>
                <c:pt idx="295">
                  <c:v>16077</c:v>
                </c:pt>
                <c:pt idx="296">
                  <c:v>16077</c:v>
                </c:pt>
                <c:pt idx="297">
                  <c:v>16077</c:v>
                </c:pt>
                <c:pt idx="298">
                  <c:v>16077</c:v>
                </c:pt>
                <c:pt idx="299">
                  <c:v>16077</c:v>
                </c:pt>
                <c:pt idx="300">
                  <c:v>16077</c:v>
                </c:pt>
                <c:pt idx="301">
                  <c:v>16077</c:v>
                </c:pt>
                <c:pt idx="302">
                  <c:v>16078</c:v>
                </c:pt>
                <c:pt idx="303">
                  <c:v>16078</c:v>
                </c:pt>
                <c:pt idx="304">
                  <c:v>16078</c:v>
                </c:pt>
                <c:pt idx="305">
                  <c:v>16078</c:v>
                </c:pt>
                <c:pt idx="306">
                  <c:v>16078</c:v>
                </c:pt>
                <c:pt idx="307">
                  <c:v>16078</c:v>
                </c:pt>
                <c:pt idx="308">
                  <c:v>16078</c:v>
                </c:pt>
                <c:pt idx="309">
                  <c:v>16078</c:v>
                </c:pt>
                <c:pt idx="310">
                  <c:v>16078</c:v>
                </c:pt>
                <c:pt idx="311">
                  <c:v>16078</c:v>
                </c:pt>
                <c:pt idx="312">
                  <c:v>16078</c:v>
                </c:pt>
                <c:pt idx="313">
                  <c:v>16079</c:v>
                </c:pt>
                <c:pt idx="314">
                  <c:v>16079</c:v>
                </c:pt>
                <c:pt idx="315">
                  <c:v>16079</c:v>
                </c:pt>
                <c:pt idx="316">
                  <c:v>16079</c:v>
                </c:pt>
                <c:pt idx="317">
                  <c:v>16079</c:v>
                </c:pt>
                <c:pt idx="318">
                  <c:v>16079</c:v>
                </c:pt>
                <c:pt idx="319">
                  <c:v>16079</c:v>
                </c:pt>
                <c:pt idx="320">
                  <c:v>16079</c:v>
                </c:pt>
                <c:pt idx="321">
                  <c:v>16079</c:v>
                </c:pt>
                <c:pt idx="322">
                  <c:v>16079</c:v>
                </c:pt>
                <c:pt idx="323">
                  <c:v>16080</c:v>
                </c:pt>
                <c:pt idx="324">
                  <c:v>16080</c:v>
                </c:pt>
                <c:pt idx="325">
                  <c:v>16080</c:v>
                </c:pt>
                <c:pt idx="326">
                  <c:v>16080</c:v>
                </c:pt>
                <c:pt idx="327">
                  <c:v>16080</c:v>
                </c:pt>
                <c:pt idx="328">
                  <c:v>16080</c:v>
                </c:pt>
                <c:pt idx="329">
                  <c:v>16081</c:v>
                </c:pt>
                <c:pt idx="330">
                  <c:v>16083</c:v>
                </c:pt>
                <c:pt idx="331">
                  <c:v>16083</c:v>
                </c:pt>
                <c:pt idx="332">
                  <c:v>16083</c:v>
                </c:pt>
                <c:pt idx="333">
                  <c:v>16083</c:v>
                </c:pt>
                <c:pt idx="334">
                  <c:v>16083</c:v>
                </c:pt>
                <c:pt idx="335">
                  <c:v>16083</c:v>
                </c:pt>
                <c:pt idx="336">
                  <c:v>16083</c:v>
                </c:pt>
                <c:pt idx="337">
                  <c:v>16083</c:v>
                </c:pt>
                <c:pt idx="338">
                  <c:v>16083</c:v>
                </c:pt>
                <c:pt idx="339">
                  <c:v>16083</c:v>
                </c:pt>
                <c:pt idx="340">
                  <c:v>16083</c:v>
                </c:pt>
                <c:pt idx="341">
                  <c:v>16084</c:v>
                </c:pt>
                <c:pt idx="342">
                  <c:v>16084</c:v>
                </c:pt>
                <c:pt idx="343">
                  <c:v>16084</c:v>
                </c:pt>
                <c:pt idx="344">
                  <c:v>16085</c:v>
                </c:pt>
                <c:pt idx="345">
                  <c:v>16085</c:v>
                </c:pt>
                <c:pt idx="346">
                  <c:v>16085</c:v>
                </c:pt>
                <c:pt idx="347">
                  <c:v>16085</c:v>
                </c:pt>
                <c:pt idx="348">
                  <c:v>16085</c:v>
                </c:pt>
                <c:pt idx="349">
                  <c:v>16085</c:v>
                </c:pt>
                <c:pt idx="350">
                  <c:v>16085</c:v>
                </c:pt>
                <c:pt idx="351">
                  <c:v>16085</c:v>
                </c:pt>
                <c:pt idx="352">
                  <c:v>16085</c:v>
                </c:pt>
                <c:pt idx="353">
                  <c:v>16085</c:v>
                </c:pt>
                <c:pt idx="354">
                  <c:v>16085</c:v>
                </c:pt>
                <c:pt idx="355">
                  <c:v>16085</c:v>
                </c:pt>
                <c:pt idx="356">
                  <c:v>16086</c:v>
                </c:pt>
                <c:pt idx="357">
                  <c:v>16086</c:v>
                </c:pt>
                <c:pt idx="358">
                  <c:v>16086</c:v>
                </c:pt>
                <c:pt idx="359">
                  <c:v>16087</c:v>
                </c:pt>
                <c:pt idx="360">
                  <c:v>16088</c:v>
                </c:pt>
                <c:pt idx="361">
                  <c:v>16089</c:v>
                </c:pt>
                <c:pt idx="362">
                  <c:v>16089</c:v>
                </c:pt>
                <c:pt idx="363">
                  <c:v>16089</c:v>
                </c:pt>
                <c:pt idx="364">
                  <c:v>16089</c:v>
                </c:pt>
                <c:pt idx="365">
                  <c:v>16092</c:v>
                </c:pt>
                <c:pt idx="366">
                  <c:v>16093</c:v>
                </c:pt>
                <c:pt idx="367">
                  <c:v>16094</c:v>
                </c:pt>
                <c:pt idx="368">
                  <c:v>16094</c:v>
                </c:pt>
                <c:pt idx="369">
                  <c:v>16094</c:v>
                </c:pt>
                <c:pt idx="370">
                  <c:v>16095</c:v>
                </c:pt>
                <c:pt idx="371">
                  <c:v>16097</c:v>
                </c:pt>
                <c:pt idx="372">
                  <c:v>16098</c:v>
                </c:pt>
                <c:pt idx="373">
                  <c:v>16099</c:v>
                </c:pt>
                <c:pt idx="374">
                  <c:v>16099</c:v>
                </c:pt>
                <c:pt idx="375">
                  <c:v>16099</c:v>
                </c:pt>
                <c:pt idx="376">
                  <c:v>16100</c:v>
                </c:pt>
                <c:pt idx="377">
                  <c:v>16100</c:v>
                </c:pt>
                <c:pt idx="378">
                  <c:v>16101</c:v>
                </c:pt>
                <c:pt idx="379">
                  <c:v>16101</c:v>
                </c:pt>
                <c:pt idx="380">
                  <c:v>16101</c:v>
                </c:pt>
                <c:pt idx="381">
                  <c:v>16101</c:v>
                </c:pt>
                <c:pt idx="382">
                  <c:v>16102</c:v>
                </c:pt>
                <c:pt idx="383">
                  <c:v>16102</c:v>
                </c:pt>
                <c:pt idx="384">
                  <c:v>16106</c:v>
                </c:pt>
                <c:pt idx="385">
                  <c:v>16110</c:v>
                </c:pt>
                <c:pt idx="386">
                  <c:v>16112</c:v>
                </c:pt>
                <c:pt idx="387">
                  <c:v>16112</c:v>
                </c:pt>
                <c:pt idx="388">
                  <c:v>16112</c:v>
                </c:pt>
                <c:pt idx="389">
                  <c:v>16113</c:v>
                </c:pt>
                <c:pt idx="390">
                  <c:v>16114</c:v>
                </c:pt>
                <c:pt idx="391">
                  <c:v>16119</c:v>
                </c:pt>
                <c:pt idx="392">
                  <c:v>16121</c:v>
                </c:pt>
                <c:pt idx="393">
                  <c:v>16128</c:v>
                </c:pt>
                <c:pt idx="394">
                  <c:v>16131</c:v>
                </c:pt>
                <c:pt idx="395">
                  <c:v>16133</c:v>
                </c:pt>
                <c:pt idx="396">
                  <c:v>16133</c:v>
                </c:pt>
                <c:pt idx="397">
                  <c:v>16133</c:v>
                </c:pt>
                <c:pt idx="398">
                  <c:v>16136</c:v>
                </c:pt>
                <c:pt idx="399">
                  <c:v>16141</c:v>
                </c:pt>
                <c:pt idx="400">
                  <c:v>16143</c:v>
                </c:pt>
                <c:pt idx="401">
                  <c:v>16144</c:v>
                </c:pt>
                <c:pt idx="402">
                  <c:v>16146</c:v>
                </c:pt>
                <c:pt idx="403">
                  <c:v>16147</c:v>
                </c:pt>
                <c:pt idx="404">
                  <c:v>16147</c:v>
                </c:pt>
                <c:pt idx="405">
                  <c:v>16149</c:v>
                </c:pt>
                <c:pt idx="406">
                  <c:v>16152</c:v>
                </c:pt>
                <c:pt idx="407">
                  <c:v>16153</c:v>
                </c:pt>
                <c:pt idx="408">
                  <c:v>16156</c:v>
                </c:pt>
                <c:pt idx="409">
                  <c:v>16162</c:v>
                </c:pt>
                <c:pt idx="410">
                  <c:v>16164</c:v>
                </c:pt>
                <c:pt idx="411">
                  <c:v>16165</c:v>
                </c:pt>
                <c:pt idx="412">
                  <c:v>16177</c:v>
                </c:pt>
                <c:pt idx="413">
                  <c:v>16185</c:v>
                </c:pt>
                <c:pt idx="414">
                  <c:v>16195</c:v>
                </c:pt>
                <c:pt idx="415">
                  <c:v>16202</c:v>
                </c:pt>
                <c:pt idx="416">
                  <c:v>16212</c:v>
                </c:pt>
                <c:pt idx="417">
                  <c:v>16212</c:v>
                </c:pt>
                <c:pt idx="418">
                  <c:v>16215</c:v>
                </c:pt>
                <c:pt idx="419">
                  <c:v>16234</c:v>
                </c:pt>
                <c:pt idx="420">
                  <c:v>16239</c:v>
                </c:pt>
                <c:pt idx="421">
                  <c:v>16256</c:v>
                </c:pt>
                <c:pt idx="422">
                  <c:v>16259</c:v>
                </c:pt>
                <c:pt idx="423">
                  <c:v>16267</c:v>
                </c:pt>
                <c:pt idx="424">
                  <c:v>16272</c:v>
                </c:pt>
                <c:pt idx="425">
                  <c:v>16276</c:v>
                </c:pt>
                <c:pt idx="426">
                  <c:v>16317</c:v>
                </c:pt>
                <c:pt idx="427">
                  <c:v>16342</c:v>
                </c:pt>
                <c:pt idx="428">
                  <c:v>16361</c:v>
                </c:pt>
                <c:pt idx="429">
                  <c:v>16385</c:v>
                </c:pt>
                <c:pt idx="430">
                  <c:v>16412</c:v>
                </c:pt>
                <c:pt idx="431">
                  <c:v>16425</c:v>
                </c:pt>
                <c:pt idx="432">
                  <c:v>16430</c:v>
                </c:pt>
                <c:pt idx="433">
                  <c:v>16481</c:v>
                </c:pt>
                <c:pt idx="434">
                  <c:v>16506</c:v>
                </c:pt>
                <c:pt idx="435">
                  <c:v>16535</c:v>
                </c:pt>
                <c:pt idx="436">
                  <c:v>16571</c:v>
                </c:pt>
                <c:pt idx="437">
                  <c:v>16605</c:v>
                </c:pt>
                <c:pt idx="438">
                  <c:v>16625</c:v>
                </c:pt>
                <c:pt idx="439">
                  <c:v>16639</c:v>
                </c:pt>
                <c:pt idx="440">
                  <c:v>16694</c:v>
                </c:pt>
                <c:pt idx="441">
                  <c:v>16728</c:v>
                </c:pt>
                <c:pt idx="442">
                  <c:v>16741</c:v>
                </c:pt>
                <c:pt idx="443">
                  <c:v>16783</c:v>
                </c:pt>
                <c:pt idx="444">
                  <c:v>16835</c:v>
                </c:pt>
                <c:pt idx="445">
                  <c:v>16846</c:v>
                </c:pt>
                <c:pt idx="446">
                  <c:v>16853</c:v>
                </c:pt>
                <c:pt idx="447">
                  <c:v>16921</c:v>
                </c:pt>
                <c:pt idx="448">
                  <c:v>16965</c:v>
                </c:pt>
                <c:pt idx="449">
                  <c:v>17010</c:v>
                </c:pt>
                <c:pt idx="450">
                  <c:v>17059</c:v>
                </c:pt>
                <c:pt idx="451">
                  <c:v>17107</c:v>
                </c:pt>
                <c:pt idx="452">
                  <c:v>17129</c:v>
                </c:pt>
                <c:pt idx="453">
                  <c:v>17137</c:v>
                </c:pt>
                <c:pt idx="454">
                  <c:v>17180</c:v>
                </c:pt>
                <c:pt idx="455">
                  <c:v>17228</c:v>
                </c:pt>
                <c:pt idx="456">
                  <c:v>17268</c:v>
                </c:pt>
                <c:pt idx="457">
                  <c:v>17300</c:v>
                </c:pt>
                <c:pt idx="458">
                  <c:v>17328</c:v>
                </c:pt>
                <c:pt idx="459">
                  <c:v>17349</c:v>
                </c:pt>
                <c:pt idx="460">
                  <c:v>17358</c:v>
                </c:pt>
                <c:pt idx="461">
                  <c:v>17406</c:v>
                </c:pt>
                <c:pt idx="462">
                  <c:v>17441</c:v>
                </c:pt>
                <c:pt idx="463">
                  <c:v>17475</c:v>
                </c:pt>
                <c:pt idx="464">
                  <c:v>17500</c:v>
                </c:pt>
                <c:pt idx="465">
                  <c:v>17518</c:v>
                </c:pt>
                <c:pt idx="466">
                  <c:v>17531</c:v>
                </c:pt>
                <c:pt idx="467">
                  <c:v>17538</c:v>
                </c:pt>
                <c:pt idx="468">
                  <c:v>17568</c:v>
                </c:pt>
                <c:pt idx="469">
                  <c:v>17604</c:v>
                </c:pt>
                <c:pt idx="470">
                  <c:v>17632</c:v>
                </c:pt>
                <c:pt idx="471">
                  <c:v>17649</c:v>
                </c:pt>
                <c:pt idx="472">
                  <c:v>17663</c:v>
                </c:pt>
                <c:pt idx="473">
                  <c:v>17671</c:v>
                </c:pt>
                <c:pt idx="474">
                  <c:v>17681</c:v>
                </c:pt>
                <c:pt idx="475">
                  <c:v>17706</c:v>
                </c:pt>
                <c:pt idx="476">
                  <c:v>17718</c:v>
                </c:pt>
                <c:pt idx="477">
                  <c:v>17726</c:v>
                </c:pt>
                <c:pt idx="478">
                  <c:v>17730</c:v>
                </c:pt>
                <c:pt idx="479">
                  <c:v>17737</c:v>
                </c:pt>
                <c:pt idx="480">
                  <c:v>17740</c:v>
                </c:pt>
                <c:pt idx="481">
                  <c:v>17745</c:v>
                </c:pt>
                <c:pt idx="482">
                  <c:v>17754</c:v>
                </c:pt>
                <c:pt idx="483">
                  <c:v>17771</c:v>
                </c:pt>
                <c:pt idx="484">
                  <c:v>17779</c:v>
                </c:pt>
                <c:pt idx="485">
                  <c:v>17788</c:v>
                </c:pt>
                <c:pt idx="486">
                  <c:v>17794</c:v>
                </c:pt>
                <c:pt idx="487">
                  <c:v>17794</c:v>
                </c:pt>
                <c:pt idx="488">
                  <c:v>17797</c:v>
                </c:pt>
                <c:pt idx="489">
                  <c:v>17814</c:v>
                </c:pt>
                <c:pt idx="490">
                  <c:v>17828</c:v>
                </c:pt>
                <c:pt idx="491">
                  <c:v>17834</c:v>
                </c:pt>
                <c:pt idx="492">
                  <c:v>17844</c:v>
                </c:pt>
                <c:pt idx="493">
                  <c:v>17851</c:v>
                </c:pt>
                <c:pt idx="494">
                  <c:v>17855</c:v>
                </c:pt>
                <c:pt idx="495">
                  <c:v>17858</c:v>
                </c:pt>
                <c:pt idx="496">
                  <c:v>17872</c:v>
                </c:pt>
                <c:pt idx="497">
                  <c:v>17885</c:v>
                </c:pt>
                <c:pt idx="498">
                  <c:v>17892</c:v>
                </c:pt>
                <c:pt idx="499">
                  <c:v>17911</c:v>
                </c:pt>
                <c:pt idx="500">
                  <c:v>17930</c:v>
                </c:pt>
                <c:pt idx="501">
                  <c:v>17938</c:v>
                </c:pt>
                <c:pt idx="502">
                  <c:v>17944</c:v>
                </c:pt>
                <c:pt idx="503">
                  <c:v>17976</c:v>
                </c:pt>
                <c:pt idx="504">
                  <c:v>18016</c:v>
                </c:pt>
                <c:pt idx="505">
                  <c:v>18058</c:v>
                </c:pt>
                <c:pt idx="506">
                  <c:v>18103</c:v>
                </c:pt>
                <c:pt idx="507">
                  <c:v>18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List1!$D$2:$D$509</c:f>
              <c:numCache>
                <c:formatCode>General</c:formatCode>
                <c:ptCount val="508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5</c:v>
                </c:pt>
                <c:pt idx="14">
                  <c:v>26</c:v>
                </c:pt>
                <c:pt idx="15">
                  <c:v>28</c:v>
                </c:pt>
                <c:pt idx="16">
                  <c:v>30</c:v>
                </c:pt>
                <c:pt idx="17">
                  <c:v>34</c:v>
                </c:pt>
                <c:pt idx="18">
                  <c:v>36</c:v>
                </c:pt>
                <c:pt idx="19">
                  <c:v>43</c:v>
                </c:pt>
                <c:pt idx="20">
                  <c:v>49</c:v>
                </c:pt>
                <c:pt idx="21">
                  <c:v>53</c:v>
                </c:pt>
                <c:pt idx="22">
                  <c:v>55</c:v>
                </c:pt>
                <c:pt idx="23">
                  <c:v>62</c:v>
                </c:pt>
                <c:pt idx="24">
                  <c:v>75</c:v>
                </c:pt>
                <c:pt idx="25">
                  <c:v>87</c:v>
                </c:pt>
                <c:pt idx="26">
                  <c:v>94</c:v>
                </c:pt>
                <c:pt idx="27">
                  <c:v>101</c:v>
                </c:pt>
                <c:pt idx="28">
                  <c:v>130</c:v>
                </c:pt>
                <c:pt idx="29">
                  <c:v>168</c:v>
                </c:pt>
                <c:pt idx="30">
                  <c:v>229</c:v>
                </c:pt>
                <c:pt idx="31">
                  <c:v>386</c:v>
                </c:pt>
                <c:pt idx="32">
                  <c:v>453</c:v>
                </c:pt>
                <c:pt idx="33">
                  <c:v>537</c:v>
                </c:pt>
                <c:pt idx="34">
                  <c:v>795</c:v>
                </c:pt>
                <c:pt idx="35">
                  <c:v>923</c:v>
                </c:pt>
                <c:pt idx="36">
                  <c:v>1011</c:v>
                </c:pt>
                <c:pt idx="37">
                  <c:v>1174</c:v>
                </c:pt>
                <c:pt idx="38">
                  <c:v>1400</c:v>
                </c:pt>
                <c:pt idx="39">
                  <c:v>1481</c:v>
                </c:pt>
                <c:pt idx="40">
                  <c:v>1517</c:v>
                </c:pt>
                <c:pt idx="41">
                  <c:v>1818</c:v>
                </c:pt>
                <c:pt idx="42">
                  <c:v>2197</c:v>
                </c:pt>
                <c:pt idx="43">
                  <c:v>2570</c:v>
                </c:pt>
                <c:pt idx="44">
                  <c:v>2967</c:v>
                </c:pt>
                <c:pt idx="45">
                  <c:v>3384</c:v>
                </c:pt>
                <c:pt idx="46">
                  <c:v>3646</c:v>
                </c:pt>
                <c:pt idx="47">
                  <c:v>3735</c:v>
                </c:pt>
                <c:pt idx="48">
                  <c:v>4171</c:v>
                </c:pt>
                <c:pt idx="49">
                  <c:v>4564</c:v>
                </c:pt>
                <c:pt idx="50">
                  <c:v>5150</c:v>
                </c:pt>
                <c:pt idx="51">
                  <c:v>5613</c:v>
                </c:pt>
                <c:pt idx="52">
                  <c:v>6365</c:v>
                </c:pt>
                <c:pt idx="53">
                  <c:v>6779</c:v>
                </c:pt>
                <c:pt idx="54">
                  <c:v>7064</c:v>
                </c:pt>
                <c:pt idx="55">
                  <c:v>7828</c:v>
                </c:pt>
                <c:pt idx="56">
                  <c:v>8750</c:v>
                </c:pt>
                <c:pt idx="57">
                  <c:v>9145</c:v>
                </c:pt>
                <c:pt idx="58">
                  <c:v>10156</c:v>
                </c:pt>
                <c:pt idx="59">
                  <c:v>11076</c:v>
                </c:pt>
                <c:pt idx="60">
                  <c:v>11597</c:v>
                </c:pt>
                <c:pt idx="61">
                  <c:v>11927</c:v>
                </c:pt>
                <c:pt idx="62">
                  <c:v>12558</c:v>
                </c:pt>
                <c:pt idx="63">
                  <c:v>13123</c:v>
                </c:pt>
                <c:pt idx="64">
                  <c:v>13880</c:v>
                </c:pt>
                <c:pt idx="65">
                  <c:v>14696</c:v>
                </c:pt>
                <c:pt idx="66">
                  <c:v>15426</c:v>
                </c:pt>
                <c:pt idx="67">
                  <c:v>15759</c:v>
                </c:pt>
                <c:pt idx="68">
                  <c:v>15887</c:v>
                </c:pt>
                <c:pt idx="69">
                  <c:v>16289</c:v>
                </c:pt>
                <c:pt idx="70">
                  <c:v>16879</c:v>
                </c:pt>
                <c:pt idx="71">
                  <c:v>17819</c:v>
                </c:pt>
                <c:pt idx="72">
                  <c:v>18549</c:v>
                </c:pt>
                <c:pt idx="73">
                  <c:v>19234</c:v>
                </c:pt>
                <c:pt idx="74">
                  <c:v>19487</c:v>
                </c:pt>
                <c:pt idx="75">
                  <c:v>19682</c:v>
                </c:pt>
                <c:pt idx="76">
                  <c:v>20247</c:v>
                </c:pt>
                <c:pt idx="77">
                  <c:v>20431</c:v>
                </c:pt>
                <c:pt idx="78">
                  <c:v>20860</c:v>
                </c:pt>
                <c:pt idx="79">
                  <c:v>21258</c:v>
                </c:pt>
                <c:pt idx="80">
                  <c:v>21619</c:v>
                </c:pt>
                <c:pt idx="81">
                  <c:v>21750</c:v>
                </c:pt>
                <c:pt idx="82">
                  <c:v>21858</c:v>
                </c:pt>
                <c:pt idx="83">
                  <c:v>22376</c:v>
                </c:pt>
                <c:pt idx="84">
                  <c:v>22683</c:v>
                </c:pt>
                <c:pt idx="85">
                  <c:v>22902</c:v>
                </c:pt>
                <c:pt idx="86">
                  <c:v>23154</c:v>
                </c:pt>
                <c:pt idx="87">
                  <c:v>23374</c:v>
                </c:pt>
                <c:pt idx="88">
                  <c:v>23475</c:v>
                </c:pt>
                <c:pt idx="89">
                  <c:v>23519</c:v>
                </c:pt>
                <c:pt idx="90">
                  <c:v>23837</c:v>
                </c:pt>
                <c:pt idx="91">
                  <c:v>24047</c:v>
                </c:pt>
                <c:pt idx="92">
                  <c:v>24245</c:v>
                </c:pt>
                <c:pt idx="93">
                  <c:v>24432</c:v>
                </c:pt>
                <c:pt idx="94">
                  <c:v>24664</c:v>
                </c:pt>
                <c:pt idx="95">
                  <c:v>24793</c:v>
                </c:pt>
                <c:pt idx="96">
                  <c:v>24839</c:v>
                </c:pt>
                <c:pt idx="97">
                  <c:v>25101</c:v>
                </c:pt>
                <c:pt idx="98">
                  <c:v>25266</c:v>
                </c:pt>
                <c:pt idx="99">
                  <c:v>25470</c:v>
                </c:pt>
                <c:pt idx="100">
                  <c:v>25612</c:v>
                </c:pt>
                <c:pt idx="101">
                  <c:v>25920</c:v>
                </c:pt>
                <c:pt idx="102">
                  <c:v>26008</c:v>
                </c:pt>
                <c:pt idx="103">
                  <c:v>26075</c:v>
                </c:pt>
                <c:pt idx="104">
                  <c:v>26354</c:v>
                </c:pt>
                <c:pt idx="105">
                  <c:v>26558</c:v>
                </c:pt>
                <c:pt idx="106">
                  <c:v>26754</c:v>
                </c:pt>
                <c:pt idx="107">
                  <c:v>26873</c:v>
                </c:pt>
                <c:pt idx="108">
                  <c:v>27180</c:v>
                </c:pt>
                <c:pt idx="109">
                  <c:v>27269</c:v>
                </c:pt>
                <c:pt idx="110">
                  <c:v>27318</c:v>
                </c:pt>
                <c:pt idx="111">
                  <c:v>27655</c:v>
                </c:pt>
                <c:pt idx="112">
                  <c:v>27942</c:v>
                </c:pt>
                <c:pt idx="113">
                  <c:v>28182</c:v>
                </c:pt>
                <c:pt idx="114">
                  <c:v>28228</c:v>
                </c:pt>
                <c:pt idx="115">
                  <c:v>28344</c:v>
                </c:pt>
                <c:pt idx="116">
                  <c:v>28471</c:v>
                </c:pt>
                <c:pt idx="117">
                  <c:v>28616</c:v>
                </c:pt>
                <c:pt idx="118">
                  <c:v>28973</c:v>
                </c:pt>
                <c:pt idx="119">
                  <c:v>29305</c:v>
                </c:pt>
                <c:pt idx="120">
                  <c:v>29561</c:v>
                </c:pt>
                <c:pt idx="121">
                  <c:v>29780</c:v>
                </c:pt>
                <c:pt idx="122">
                  <c:v>29874</c:v>
                </c:pt>
                <c:pt idx="123">
                  <c:v>29993</c:v>
                </c:pt>
                <c:pt idx="124">
                  <c:v>30070</c:v>
                </c:pt>
                <c:pt idx="125">
                  <c:v>30617</c:v>
                </c:pt>
                <c:pt idx="126">
                  <c:v>30916</c:v>
                </c:pt>
                <c:pt idx="127">
                  <c:v>31189</c:v>
                </c:pt>
                <c:pt idx="128">
                  <c:v>31521</c:v>
                </c:pt>
                <c:pt idx="129">
                  <c:v>31828</c:v>
                </c:pt>
                <c:pt idx="130">
                  <c:v>31938</c:v>
                </c:pt>
                <c:pt idx="131">
                  <c:v>31996</c:v>
                </c:pt>
                <c:pt idx="132">
                  <c:v>32466</c:v>
                </c:pt>
                <c:pt idx="133">
                  <c:v>32689</c:v>
                </c:pt>
                <c:pt idx="134">
                  <c:v>32973</c:v>
                </c:pt>
                <c:pt idx="135">
                  <c:v>33123</c:v>
                </c:pt>
                <c:pt idx="136">
                  <c:v>33274</c:v>
                </c:pt>
                <c:pt idx="137">
                  <c:v>33342</c:v>
                </c:pt>
                <c:pt idx="138">
                  <c:v>33413</c:v>
                </c:pt>
                <c:pt idx="139">
                  <c:v>33700</c:v>
                </c:pt>
                <c:pt idx="140">
                  <c:v>33854</c:v>
                </c:pt>
                <c:pt idx="141">
                  <c:v>34071</c:v>
                </c:pt>
                <c:pt idx="142">
                  <c:v>34237</c:v>
                </c:pt>
                <c:pt idx="143">
                  <c:v>34431</c:v>
                </c:pt>
                <c:pt idx="144">
                  <c:v>34511</c:v>
                </c:pt>
                <c:pt idx="145">
                  <c:v>34548</c:v>
                </c:pt>
                <c:pt idx="146">
                  <c:v>34721</c:v>
                </c:pt>
                <c:pt idx="147">
                  <c:v>34838</c:v>
                </c:pt>
                <c:pt idx="148">
                  <c:v>34993</c:v>
                </c:pt>
                <c:pt idx="149">
                  <c:v>35093</c:v>
                </c:pt>
                <c:pt idx="150">
                  <c:v>35176</c:v>
                </c:pt>
                <c:pt idx="151">
                  <c:v>35255</c:v>
                </c:pt>
                <c:pt idx="152">
                  <c:v>35273</c:v>
                </c:pt>
                <c:pt idx="153">
                  <c:v>35459</c:v>
                </c:pt>
                <c:pt idx="154">
                  <c:v>35623</c:v>
                </c:pt>
                <c:pt idx="155">
                  <c:v>35784</c:v>
                </c:pt>
                <c:pt idx="156">
                  <c:v>35909</c:v>
                </c:pt>
                <c:pt idx="157">
                  <c:v>36042</c:v>
                </c:pt>
                <c:pt idx="158">
                  <c:v>36096</c:v>
                </c:pt>
                <c:pt idx="159">
                  <c:v>36130</c:v>
                </c:pt>
                <c:pt idx="160">
                  <c:v>36266</c:v>
                </c:pt>
                <c:pt idx="161">
                  <c:v>36353</c:v>
                </c:pt>
                <c:pt idx="162">
                  <c:v>36454</c:v>
                </c:pt>
                <c:pt idx="163">
                  <c:v>36558</c:v>
                </c:pt>
                <c:pt idx="164">
                  <c:v>36650</c:v>
                </c:pt>
                <c:pt idx="165">
                  <c:v>36673</c:v>
                </c:pt>
                <c:pt idx="166">
                  <c:v>36696</c:v>
                </c:pt>
                <c:pt idx="167">
                  <c:v>36796</c:v>
                </c:pt>
                <c:pt idx="168">
                  <c:v>36846</c:v>
                </c:pt>
                <c:pt idx="169">
                  <c:v>36912</c:v>
                </c:pt>
                <c:pt idx="170">
                  <c:v>36968</c:v>
                </c:pt>
                <c:pt idx="171">
                  <c:v>37030</c:v>
                </c:pt>
                <c:pt idx="172">
                  <c:v>37054</c:v>
                </c:pt>
                <c:pt idx="173">
                  <c:v>37077</c:v>
                </c:pt>
                <c:pt idx="174">
                  <c:v>37241</c:v>
                </c:pt>
                <c:pt idx="175">
                  <c:v>37322</c:v>
                </c:pt>
                <c:pt idx="176">
                  <c:v>37390</c:v>
                </c:pt>
                <c:pt idx="177">
                  <c:v>37469</c:v>
                </c:pt>
                <c:pt idx="178">
                  <c:v>37554</c:v>
                </c:pt>
                <c:pt idx="179">
                  <c:v>37572</c:v>
                </c:pt>
                <c:pt idx="180">
                  <c:v>37584</c:v>
                </c:pt>
                <c:pt idx="181">
                  <c:v>37721</c:v>
                </c:pt>
                <c:pt idx="182">
                  <c:v>37789</c:v>
                </c:pt>
                <c:pt idx="183">
                  <c:v>37891</c:v>
                </c:pt>
                <c:pt idx="184">
                  <c:v>37941</c:v>
                </c:pt>
                <c:pt idx="185">
                  <c:v>37992</c:v>
                </c:pt>
                <c:pt idx="186">
                  <c:v>38011</c:v>
                </c:pt>
                <c:pt idx="187">
                  <c:v>38026</c:v>
                </c:pt>
                <c:pt idx="188">
                  <c:v>38115</c:v>
                </c:pt>
                <c:pt idx="189">
                  <c:v>38231</c:v>
                </c:pt>
                <c:pt idx="190">
                  <c:v>38316</c:v>
                </c:pt>
                <c:pt idx="191">
                  <c:v>38354</c:v>
                </c:pt>
                <c:pt idx="192">
                  <c:v>38397</c:v>
                </c:pt>
                <c:pt idx="193">
                  <c:v>38417</c:v>
                </c:pt>
                <c:pt idx="194">
                  <c:v>38430</c:v>
                </c:pt>
                <c:pt idx="195">
                  <c:v>38497</c:v>
                </c:pt>
                <c:pt idx="196">
                  <c:v>38541</c:v>
                </c:pt>
                <c:pt idx="197">
                  <c:v>38572</c:v>
                </c:pt>
                <c:pt idx="198">
                  <c:v>38625</c:v>
                </c:pt>
                <c:pt idx="199">
                  <c:v>38664</c:v>
                </c:pt>
                <c:pt idx="200">
                  <c:v>38675</c:v>
                </c:pt>
                <c:pt idx="201">
                  <c:v>38683</c:v>
                </c:pt>
                <c:pt idx="202">
                  <c:v>38728</c:v>
                </c:pt>
                <c:pt idx="203">
                  <c:v>38776</c:v>
                </c:pt>
                <c:pt idx="204">
                  <c:v>38806</c:v>
                </c:pt>
                <c:pt idx="205">
                  <c:v>38845</c:v>
                </c:pt>
                <c:pt idx="206">
                  <c:v>38867</c:v>
                </c:pt>
                <c:pt idx="207">
                  <c:v>38873</c:v>
                </c:pt>
                <c:pt idx="208">
                  <c:v>38878</c:v>
                </c:pt>
                <c:pt idx="209">
                  <c:v>38918</c:v>
                </c:pt>
                <c:pt idx="210">
                  <c:v>38943</c:v>
                </c:pt>
                <c:pt idx="211">
                  <c:v>38965</c:v>
                </c:pt>
                <c:pt idx="212">
                  <c:v>38986</c:v>
                </c:pt>
                <c:pt idx="213">
                  <c:v>38992</c:v>
                </c:pt>
                <c:pt idx="214">
                  <c:v>38999</c:v>
                </c:pt>
                <c:pt idx="215">
                  <c:v>39003</c:v>
                </c:pt>
                <c:pt idx="216">
                  <c:v>39009</c:v>
                </c:pt>
                <c:pt idx="217">
                  <c:v>39036</c:v>
                </c:pt>
                <c:pt idx="218">
                  <c:v>39070</c:v>
                </c:pt>
                <c:pt idx="219">
                  <c:v>39087</c:v>
                </c:pt>
                <c:pt idx="220">
                  <c:v>39098</c:v>
                </c:pt>
                <c:pt idx="221">
                  <c:v>39104</c:v>
                </c:pt>
                <c:pt idx="222">
                  <c:v>39105</c:v>
                </c:pt>
                <c:pt idx="223">
                  <c:v>39114</c:v>
                </c:pt>
                <c:pt idx="224">
                  <c:v>39122</c:v>
                </c:pt>
                <c:pt idx="225">
                  <c:v>39127</c:v>
                </c:pt>
                <c:pt idx="226">
                  <c:v>39136</c:v>
                </c:pt>
                <c:pt idx="227">
                  <c:v>39143</c:v>
                </c:pt>
                <c:pt idx="228">
                  <c:v>39145</c:v>
                </c:pt>
                <c:pt idx="229">
                  <c:v>39147</c:v>
                </c:pt>
                <c:pt idx="230">
                  <c:v>39162</c:v>
                </c:pt>
                <c:pt idx="231">
                  <c:v>39170</c:v>
                </c:pt>
                <c:pt idx="232">
                  <c:v>39177</c:v>
                </c:pt>
                <c:pt idx="233">
                  <c:v>39190</c:v>
                </c:pt>
                <c:pt idx="234">
                  <c:v>39197</c:v>
                </c:pt>
                <c:pt idx="235">
                  <c:v>39199</c:v>
                </c:pt>
                <c:pt idx="236">
                  <c:v>39199</c:v>
                </c:pt>
                <c:pt idx="237">
                  <c:v>39208</c:v>
                </c:pt>
                <c:pt idx="238">
                  <c:v>39218</c:v>
                </c:pt>
                <c:pt idx="239">
                  <c:v>39221</c:v>
                </c:pt>
                <c:pt idx="240">
                  <c:v>39225</c:v>
                </c:pt>
                <c:pt idx="241">
                  <c:v>39231</c:v>
                </c:pt>
                <c:pt idx="242">
                  <c:v>39231</c:v>
                </c:pt>
                <c:pt idx="243">
                  <c:v>39232</c:v>
                </c:pt>
                <c:pt idx="244">
                  <c:v>39234</c:v>
                </c:pt>
                <c:pt idx="245">
                  <c:v>39236</c:v>
                </c:pt>
                <c:pt idx="246">
                  <c:v>39239</c:v>
                </c:pt>
                <c:pt idx="247">
                  <c:v>39244</c:v>
                </c:pt>
                <c:pt idx="248">
                  <c:v>39247</c:v>
                </c:pt>
                <c:pt idx="249">
                  <c:v>39248</c:v>
                </c:pt>
                <c:pt idx="250">
                  <c:v>39251</c:v>
                </c:pt>
                <c:pt idx="251">
                  <c:v>39257</c:v>
                </c:pt>
                <c:pt idx="252">
                  <c:v>39263</c:v>
                </c:pt>
                <c:pt idx="253">
                  <c:v>39263</c:v>
                </c:pt>
                <c:pt idx="254">
                  <c:v>39267</c:v>
                </c:pt>
                <c:pt idx="255">
                  <c:v>39271</c:v>
                </c:pt>
                <c:pt idx="256">
                  <c:v>39272</c:v>
                </c:pt>
                <c:pt idx="257">
                  <c:v>39272</c:v>
                </c:pt>
                <c:pt idx="258">
                  <c:v>39280</c:v>
                </c:pt>
                <c:pt idx="259">
                  <c:v>39284</c:v>
                </c:pt>
                <c:pt idx="260">
                  <c:v>39288</c:v>
                </c:pt>
                <c:pt idx="261">
                  <c:v>39291</c:v>
                </c:pt>
                <c:pt idx="262">
                  <c:v>39292</c:v>
                </c:pt>
                <c:pt idx="263">
                  <c:v>39292</c:v>
                </c:pt>
                <c:pt idx="264">
                  <c:v>39292</c:v>
                </c:pt>
                <c:pt idx="265">
                  <c:v>39296</c:v>
                </c:pt>
                <c:pt idx="266">
                  <c:v>39297</c:v>
                </c:pt>
                <c:pt idx="267">
                  <c:v>39298</c:v>
                </c:pt>
                <c:pt idx="268">
                  <c:v>39299</c:v>
                </c:pt>
                <c:pt idx="269">
                  <c:v>39299</c:v>
                </c:pt>
                <c:pt idx="270">
                  <c:v>39299</c:v>
                </c:pt>
                <c:pt idx="271">
                  <c:v>39299</c:v>
                </c:pt>
                <c:pt idx="272">
                  <c:v>39299</c:v>
                </c:pt>
                <c:pt idx="273">
                  <c:v>39299</c:v>
                </c:pt>
                <c:pt idx="274">
                  <c:v>39302</c:v>
                </c:pt>
                <c:pt idx="275">
                  <c:v>39304</c:v>
                </c:pt>
                <c:pt idx="276">
                  <c:v>39304</c:v>
                </c:pt>
                <c:pt idx="277">
                  <c:v>39304</c:v>
                </c:pt>
                <c:pt idx="278">
                  <c:v>39304</c:v>
                </c:pt>
                <c:pt idx="279">
                  <c:v>39304</c:v>
                </c:pt>
                <c:pt idx="280">
                  <c:v>39304</c:v>
                </c:pt>
                <c:pt idx="281">
                  <c:v>39304</c:v>
                </c:pt>
                <c:pt idx="282">
                  <c:v>39304</c:v>
                </c:pt>
                <c:pt idx="283">
                  <c:v>39305</c:v>
                </c:pt>
                <c:pt idx="284">
                  <c:v>39305</c:v>
                </c:pt>
                <c:pt idx="285">
                  <c:v>39305</c:v>
                </c:pt>
                <c:pt idx="286">
                  <c:v>39305</c:v>
                </c:pt>
                <c:pt idx="287">
                  <c:v>39305</c:v>
                </c:pt>
                <c:pt idx="288">
                  <c:v>39305</c:v>
                </c:pt>
                <c:pt idx="289">
                  <c:v>39306</c:v>
                </c:pt>
                <c:pt idx="290">
                  <c:v>39306</c:v>
                </c:pt>
                <c:pt idx="291">
                  <c:v>39306</c:v>
                </c:pt>
                <c:pt idx="292">
                  <c:v>39306</c:v>
                </c:pt>
                <c:pt idx="293">
                  <c:v>39306</c:v>
                </c:pt>
                <c:pt idx="294">
                  <c:v>39306</c:v>
                </c:pt>
                <c:pt idx="295">
                  <c:v>39307</c:v>
                </c:pt>
                <c:pt idx="296">
                  <c:v>39308</c:v>
                </c:pt>
                <c:pt idx="297">
                  <c:v>39308</c:v>
                </c:pt>
                <c:pt idx="298">
                  <c:v>39308</c:v>
                </c:pt>
                <c:pt idx="299">
                  <c:v>39308</c:v>
                </c:pt>
                <c:pt idx="300">
                  <c:v>39308</c:v>
                </c:pt>
                <c:pt idx="301">
                  <c:v>39308</c:v>
                </c:pt>
                <c:pt idx="302">
                  <c:v>39309</c:v>
                </c:pt>
                <c:pt idx="303">
                  <c:v>39310</c:v>
                </c:pt>
                <c:pt idx="304">
                  <c:v>39310</c:v>
                </c:pt>
                <c:pt idx="305">
                  <c:v>39310</c:v>
                </c:pt>
                <c:pt idx="306">
                  <c:v>39311</c:v>
                </c:pt>
                <c:pt idx="307">
                  <c:v>39311</c:v>
                </c:pt>
                <c:pt idx="308">
                  <c:v>39311</c:v>
                </c:pt>
                <c:pt idx="309">
                  <c:v>39311</c:v>
                </c:pt>
                <c:pt idx="310">
                  <c:v>39312</c:v>
                </c:pt>
                <c:pt idx="311">
                  <c:v>39312</c:v>
                </c:pt>
                <c:pt idx="312">
                  <c:v>39312</c:v>
                </c:pt>
                <c:pt idx="313">
                  <c:v>39313</c:v>
                </c:pt>
                <c:pt idx="314">
                  <c:v>39313</c:v>
                </c:pt>
                <c:pt idx="315">
                  <c:v>39313</c:v>
                </c:pt>
                <c:pt idx="316">
                  <c:v>39313</c:v>
                </c:pt>
                <c:pt idx="317">
                  <c:v>39313</c:v>
                </c:pt>
                <c:pt idx="318">
                  <c:v>39313</c:v>
                </c:pt>
                <c:pt idx="319">
                  <c:v>39313</c:v>
                </c:pt>
                <c:pt idx="320">
                  <c:v>39313</c:v>
                </c:pt>
                <c:pt idx="321">
                  <c:v>39313</c:v>
                </c:pt>
                <c:pt idx="322">
                  <c:v>39313</c:v>
                </c:pt>
                <c:pt idx="323">
                  <c:v>39314</c:v>
                </c:pt>
                <c:pt idx="324">
                  <c:v>39314</c:v>
                </c:pt>
                <c:pt idx="325">
                  <c:v>39314</c:v>
                </c:pt>
                <c:pt idx="326">
                  <c:v>39315</c:v>
                </c:pt>
                <c:pt idx="327">
                  <c:v>39315</c:v>
                </c:pt>
                <c:pt idx="328">
                  <c:v>39315</c:v>
                </c:pt>
                <c:pt idx="329">
                  <c:v>39316</c:v>
                </c:pt>
                <c:pt idx="330">
                  <c:v>39318</c:v>
                </c:pt>
                <c:pt idx="331">
                  <c:v>39318</c:v>
                </c:pt>
                <c:pt idx="332">
                  <c:v>39318</c:v>
                </c:pt>
                <c:pt idx="333">
                  <c:v>39318</c:v>
                </c:pt>
                <c:pt idx="334">
                  <c:v>39318</c:v>
                </c:pt>
                <c:pt idx="335">
                  <c:v>39318</c:v>
                </c:pt>
                <c:pt idx="336">
                  <c:v>39318</c:v>
                </c:pt>
                <c:pt idx="337">
                  <c:v>39318</c:v>
                </c:pt>
                <c:pt idx="338">
                  <c:v>39318</c:v>
                </c:pt>
                <c:pt idx="339">
                  <c:v>39318</c:v>
                </c:pt>
                <c:pt idx="340">
                  <c:v>39318</c:v>
                </c:pt>
                <c:pt idx="341">
                  <c:v>39319</c:v>
                </c:pt>
                <c:pt idx="342">
                  <c:v>39319</c:v>
                </c:pt>
                <c:pt idx="343">
                  <c:v>39319</c:v>
                </c:pt>
                <c:pt idx="344">
                  <c:v>39320</c:v>
                </c:pt>
                <c:pt idx="345">
                  <c:v>39320</c:v>
                </c:pt>
                <c:pt idx="346">
                  <c:v>39320</c:v>
                </c:pt>
                <c:pt idx="347">
                  <c:v>39320</c:v>
                </c:pt>
                <c:pt idx="348">
                  <c:v>39320</c:v>
                </c:pt>
                <c:pt idx="349">
                  <c:v>39321</c:v>
                </c:pt>
                <c:pt idx="350">
                  <c:v>39322</c:v>
                </c:pt>
                <c:pt idx="351">
                  <c:v>39322</c:v>
                </c:pt>
                <c:pt idx="352">
                  <c:v>39323</c:v>
                </c:pt>
                <c:pt idx="353">
                  <c:v>39323</c:v>
                </c:pt>
                <c:pt idx="354">
                  <c:v>39323</c:v>
                </c:pt>
                <c:pt idx="355">
                  <c:v>39323</c:v>
                </c:pt>
                <c:pt idx="356">
                  <c:v>39326</c:v>
                </c:pt>
                <c:pt idx="357">
                  <c:v>39326</c:v>
                </c:pt>
                <c:pt idx="358">
                  <c:v>39326</c:v>
                </c:pt>
                <c:pt idx="359">
                  <c:v>39327</c:v>
                </c:pt>
                <c:pt idx="360">
                  <c:v>39328</c:v>
                </c:pt>
                <c:pt idx="361">
                  <c:v>39329</c:v>
                </c:pt>
                <c:pt idx="362">
                  <c:v>39329</c:v>
                </c:pt>
                <c:pt idx="363">
                  <c:v>39329</c:v>
                </c:pt>
                <c:pt idx="364">
                  <c:v>39329</c:v>
                </c:pt>
                <c:pt idx="365">
                  <c:v>39333</c:v>
                </c:pt>
                <c:pt idx="366">
                  <c:v>39338</c:v>
                </c:pt>
                <c:pt idx="367">
                  <c:v>39341</c:v>
                </c:pt>
                <c:pt idx="368">
                  <c:v>39342</c:v>
                </c:pt>
                <c:pt idx="369">
                  <c:v>39342</c:v>
                </c:pt>
                <c:pt idx="370">
                  <c:v>39347</c:v>
                </c:pt>
                <c:pt idx="371">
                  <c:v>39349</c:v>
                </c:pt>
                <c:pt idx="372">
                  <c:v>39350</c:v>
                </c:pt>
                <c:pt idx="373">
                  <c:v>39352</c:v>
                </c:pt>
                <c:pt idx="374">
                  <c:v>39352</c:v>
                </c:pt>
                <c:pt idx="375">
                  <c:v>39352</c:v>
                </c:pt>
                <c:pt idx="376">
                  <c:v>39353</c:v>
                </c:pt>
                <c:pt idx="377">
                  <c:v>39354</c:v>
                </c:pt>
                <c:pt idx="378">
                  <c:v>39355</c:v>
                </c:pt>
                <c:pt idx="379">
                  <c:v>39355</c:v>
                </c:pt>
                <c:pt idx="380">
                  <c:v>39355</c:v>
                </c:pt>
                <c:pt idx="381">
                  <c:v>39355</c:v>
                </c:pt>
                <c:pt idx="382">
                  <c:v>39356</c:v>
                </c:pt>
                <c:pt idx="383">
                  <c:v>39356</c:v>
                </c:pt>
                <c:pt idx="384">
                  <c:v>39361</c:v>
                </c:pt>
                <c:pt idx="385">
                  <c:v>39369</c:v>
                </c:pt>
                <c:pt idx="386">
                  <c:v>39372</c:v>
                </c:pt>
                <c:pt idx="387">
                  <c:v>39372</c:v>
                </c:pt>
                <c:pt idx="388">
                  <c:v>39372</c:v>
                </c:pt>
                <c:pt idx="389">
                  <c:v>39373</c:v>
                </c:pt>
                <c:pt idx="390">
                  <c:v>39374</c:v>
                </c:pt>
                <c:pt idx="391">
                  <c:v>39381</c:v>
                </c:pt>
                <c:pt idx="392">
                  <c:v>39383</c:v>
                </c:pt>
                <c:pt idx="393">
                  <c:v>39391</c:v>
                </c:pt>
                <c:pt idx="394">
                  <c:v>39394</c:v>
                </c:pt>
                <c:pt idx="395">
                  <c:v>39397</c:v>
                </c:pt>
                <c:pt idx="396">
                  <c:v>39398</c:v>
                </c:pt>
                <c:pt idx="397">
                  <c:v>39399</c:v>
                </c:pt>
                <c:pt idx="398">
                  <c:v>39404</c:v>
                </c:pt>
                <c:pt idx="399">
                  <c:v>39411</c:v>
                </c:pt>
                <c:pt idx="400">
                  <c:v>39424</c:v>
                </c:pt>
                <c:pt idx="401">
                  <c:v>39427</c:v>
                </c:pt>
                <c:pt idx="402">
                  <c:v>39454</c:v>
                </c:pt>
                <c:pt idx="403">
                  <c:v>39456</c:v>
                </c:pt>
                <c:pt idx="404">
                  <c:v>39456</c:v>
                </c:pt>
                <c:pt idx="405">
                  <c:v>39459</c:v>
                </c:pt>
                <c:pt idx="406">
                  <c:v>39462</c:v>
                </c:pt>
                <c:pt idx="407">
                  <c:v>39483</c:v>
                </c:pt>
                <c:pt idx="408">
                  <c:v>39489</c:v>
                </c:pt>
                <c:pt idx="409">
                  <c:v>39497</c:v>
                </c:pt>
                <c:pt idx="410">
                  <c:v>39499</c:v>
                </c:pt>
                <c:pt idx="411">
                  <c:v>39500</c:v>
                </c:pt>
                <c:pt idx="412">
                  <c:v>39518</c:v>
                </c:pt>
                <c:pt idx="413">
                  <c:v>39531</c:v>
                </c:pt>
                <c:pt idx="414">
                  <c:v>39545</c:v>
                </c:pt>
                <c:pt idx="415">
                  <c:v>39554</c:v>
                </c:pt>
                <c:pt idx="416">
                  <c:v>39569</c:v>
                </c:pt>
                <c:pt idx="417">
                  <c:v>39570</c:v>
                </c:pt>
                <c:pt idx="418">
                  <c:v>39574</c:v>
                </c:pt>
                <c:pt idx="419">
                  <c:v>39607</c:v>
                </c:pt>
                <c:pt idx="420">
                  <c:v>39621</c:v>
                </c:pt>
                <c:pt idx="421">
                  <c:v>39649</c:v>
                </c:pt>
                <c:pt idx="422">
                  <c:v>39652</c:v>
                </c:pt>
                <c:pt idx="423">
                  <c:v>39678</c:v>
                </c:pt>
                <c:pt idx="424">
                  <c:v>39690</c:v>
                </c:pt>
                <c:pt idx="425">
                  <c:v>39705</c:v>
                </c:pt>
                <c:pt idx="426">
                  <c:v>39781</c:v>
                </c:pt>
                <c:pt idx="427">
                  <c:v>39820</c:v>
                </c:pt>
                <c:pt idx="428">
                  <c:v>39855</c:v>
                </c:pt>
                <c:pt idx="429">
                  <c:v>39931</c:v>
                </c:pt>
                <c:pt idx="430">
                  <c:v>39981</c:v>
                </c:pt>
                <c:pt idx="431">
                  <c:v>40000</c:v>
                </c:pt>
                <c:pt idx="432">
                  <c:v>40010</c:v>
                </c:pt>
                <c:pt idx="433">
                  <c:v>40090</c:v>
                </c:pt>
                <c:pt idx="434">
                  <c:v>40144</c:v>
                </c:pt>
                <c:pt idx="435">
                  <c:v>40188</c:v>
                </c:pt>
                <c:pt idx="436">
                  <c:v>40242</c:v>
                </c:pt>
                <c:pt idx="437">
                  <c:v>40293</c:v>
                </c:pt>
                <c:pt idx="438">
                  <c:v>40326</c:v>
                </c:pt>
                <c:pt idx="439">
                  <c:v>40354</c:v>
                </c:pt>
                <c:pt idx="440">
                  <c:v>40452</c:v>
                </c:pt>
                <c:pt idx="441">
                  <c:v>40518</c:v>
                </c:pt>
                <c:pt idx="442">
                  <c:v>40554</c:v>
                </c:pt>
                <c:pt idx="443">
                  <c:v>40651</c:v>
                </c:pt>
                <c:pt idx="444">
                  <c:v>40788</c:v>
                </c:pt>
                <c:pt idx="445">
                  <c:v>40825</c:v>
                </c:pt>
                <c:pt idx="446">
                  <c:v>40841</c:v>
                </c:pt>
                <c:pt idx="447">
                  <c:v>40957</c:v>
                </c:pt>
                <c:pt idx="448">
                  <c:v>41024</c:v>
                </c:pt>
                <c:pt idx="449">
                  <c:v>41110</c:v>
                </c:pt>
                <c:pt idx="450">
                  <c:v>41188</c:v>
                </c:pt>
                <c:pt idx="451">
                  <c:v>41288</c:v>
                </c:pt>
                <c:pt idx="452">
                  <c:v>41315</c:v>
                </c:pt>
                <c:pt idx="453">
                  <c:v>41330</c:v>
                </c:pt>
                <c:pt idx="454">
                  <c:v>41415</c:v>
                </c:pt>
                <c:pt idx="455">
                  <c:v>41477</c:v>
                </c:pt>
                <c:pt idx="456">
                  <c:v>41547</c:v>
                </c:pt>
                <c:pt idx="457">
                  <c:v>41610</c:v>
                </c:pt>
                <c:pt idx="458">
                  <c:v>41651</c:v>
                </c:pt>
                <c:pt idx="459">
                  <c:v>41710</c:v>
                </c:pt>
                <c:pt idx="460">
                  <c:v>41725</c:v>
                </c:pt>
                <c:pt idx="461">
                  <c:v>41802</c:v>
                </c:pt>
                <c:pt idx="462">
                  <c:v>41860</c:v>
                </c:pt>
                <c:pt idx="463">
                  <c:v>41912</c:v>
                </c:pt>
                <c:pt idx="464">
                  <c:v>41968</c:v>
                </c:pt>
                <c:pt idx="465">
                  <c:v>42014</c:v>
                </c:pt>
                <c:pt idx="466">
                  <c:v>42033</c:v>
                </c:pt>
                <c:pt idx="467">
                  <c:v>42040</c:v>
                </c:pt>
                <c:pt idx="468">
                  <c:v>42086</c:v>
                </c:pt>
                <c:pt idx="469">
                  <c:v>42149</c:v>
                </c:pt>
                <c:pt idx="470">
                  <c:v>42192</c:v>
                </c:pt>
                <c:pt idx="471">
                  <c:v>42216</c:v>
                </c:pt>
                <c:pt idx="472">
                  <c:v>42242</c:v>
                </c:pt>
                <c:pt idx="473">
                  <c:v>42252</c:v>
                </c:pt>
                <c:pt idx="474">
                  <c:v>42265</c:v>
                </c:pt>
                <c:pt idx="475">
                  <c:v>42304</c:v>
                </c:pt>
                <c:pt idx="476">
                  <c:v>42324</c:v>
                </c:pt>
                <c:pt idx="477">
                  <c:v>42335</c:v>
                </c:pt>
                <c:pt idx="478">
                  <c:v>42344</c:v>
                </c:pt>
                <c:pt idx="479">
                  <c:v>42351</c:v>
                </c:pt>
                <c:pt idx="480">
                  <c:v>42359</c:v>
                </c:pt>
                <c:pt idx="481">
                  <c:v>42364</c:v>
                </c:pt>
                <c:pt idx="482">
                  <c:v>42383</c:v>
                </c:pt>
                <c:pt idx="483">
                  <c:v>42406</c:v>
                </c:pt>
                <c:pt idx="484">
                  <c:v>42419</c:v>
                </c:pt>
                <c:pt idx="485">
                  <c:v>42430</c:v>
                </c:pt>
                <c:pt idx="486">
                  <c:v>42446</c:v>
                </c:pt>
                <c:pt idx="487">
                  <c:v>42448</c:v>
                </c:pt>
                <c:pt idx="488">
                  <c:v>42451</c:v>
                </c:pt>
                <c:pt idx="489">
                  <c:v>42472</c:v>
                </c:pt>
                <c:pt idx="490">
                  <c:v>42491</c:v>
                </c:pt>
                <c:pt idx="491">
                  <c:v>42503</c:v>
                </c:pt>
                <c:pt idx="492">
                  <c:v>42518</c:v>
                </c:pt>
                <c:pt idx="493">
                  <c:v>42532</c:v>
                </c:pt>
                <c:pt idx="494">
                  <c:v>42536</c:v>
                </c:pt>
                <c:pt idx="495">
                  <c:v>42541</c:v>
                </c:pt>
                <c:pt idx="496">
                  <c:v>42556</c:v>
                </c:pt>
                <c:pt idx="497">
                  <c:v>42578</c:v>
                </c:pt>
                <c:pt idx="498">
                  <c:v>42588</c:v>
                </c:pt>
                <c:pt idx="499">
                  <c:v>42611</c:v>
                </c:pt>
                <c:pt idx="500">
                  <c:v>42639</c:v>
                </c:pt>
                <c:pt idx="501">
                  <c:v>42647</c:v>
                </c:pt>
                <c:pt idx="502">
                  <c:v>42656</c:v>
                </c:pt>
                <c:pt idx="503">
                  <c:v>42701</c:v>
                </c:pt>
                <c:pt idx="504">
                  <c:v>42749</c:v>
                </c:pt>
                <c:pt idx="505">
                  <c:v>42800</c:v>
                </c:pt>
                <c:pt idx="506">
                  <c:v>42862</c:v>
                </c:pt>
                <c:pt idx="507">
                  <c:v>429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List1!$B$2:$B$509</c:f>
              <c:numCache>
                <c:formatCode>General</c:formatCode>
                <c:ptCount val="50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3</c:v>
                </c:pt>
                <c:pt idx="38">
                  <c:v>675</c:v>
                </c:pt>
                <c:pt idx="39">
                  <c:v>695</c:v>
                </c:pt>
                <c:pt idx="40">
                  <c:v>662</c:v>
                </c:pt>
                <c:pt idx="41">
                  <c:v>775</c:v>
                </c:pt>
                <c:pt idx="42">
                  <c:v>946</c:v>
                </c:pt>
                <c:pt idx="43">
                  <c:v>1076</c:v>
                </c:pt>
                <c:pt idx="44">
                  <c:v>1246</c:v>
                </c:pt>
                <c:pt idx="45">
                  <c:v>1374</c:v>
                </c:pt>
                <c:pt idx="46">
                  <c:v>1450</c:v>
                </c:pt>
                <c:pt idx="47">
                  <c:v>1404</c:v>
                </c:pt>
                <c:pt idx="48">
                  <c:v>1574</c:v>
                </c:pt>
                <c:pt idx="49">
                  <c:v>1686</c:v>
                </c:pt>
                <c:pt idx="50">
                  <c:v>1964</c:v>
                </c:pt>
                <c:pt idx="51">
                  <c:v>2121</c:v>
                </c:pt>
                <c:pt idx="52">
                  <c:v>2408</c:v>
                </c:pt>
                <c:pt idx="53">
                  <c:v>2490</c:v>
                </c:pt>
                <c:pt idx="54">
                  <c:v>2533</c:v>
                </c:pt>
                <c:pt idx="55">
                  <c:v>2714</c:v>
                </c:pt>
                <c:pt idx="56">
                  <c:v>3044</c:v>
                </c:pt>
                <c:pt idx="57">
                  <c:v>3070</c:v>
                </c:pt>
                <c:pt idx="58">
                  <c:v>3510</c:v>
                </c:pt>
                <c:pt idx="59">
                  <c:v>3806</c:v>
                </c:pt>
                <c:pt idx="60">
                  <c:v>3894</c:v>
                </c:pt>
                <c:pt idx="61">
                  <c:v>3789</c:v>
                </c:pt>
                <c:pt idx="62">
                  <c:v>3851</c:v>
                </c:pt>
                <c:pt idx="63">
                  <c:v>3778</c:v>
                </c:pt>
                <c:pt idx="64">
                  <c:v>3989</c:v>
                </c:pt>
                <c:pt idx="65">
                  <c:v>4319</c:v>
                </c:pt>
                <c:pt idx="66">
                  <c:v>4177</c:v>
                </c:pt>
                <c:pt idx="67">
                  <c:v>3829</c:v>
                </c:pt>
                <c:pt idx="68">
                  <c:v>3747</c:v>
                </c:pt>
                <c:pt idx="69">
                  <c:v>3503</c:v>
                </c:pt>
                <c:pt idx="70">
                  <c:v>3382</c:v>
                </c:pt>
                <c:pt idx="71">
                  <c:v>3801</c:v>
                </c:pt>
                <c:pt idx="72">
                  <c:v>4181</c:v>
                </c:pt>
                <c:pt idx="73">
                  <c:v>4230</c:v>
                </c:pt>
                <c:pt idx="74">
                  <c:v>3888</c:v>
                </c:pt>
                <c:pt idx="75">
                  <c:v>3775</c:v>
                </c:pt>
                <c:pt idx="76">
                  <c:v>3788</c:v>
                </c:pt>
                <c:pt idx="77">
                  <c:v>3575</c:v>
                </c:pt>
                <c:pt idx="78">
                  <c:v>3763</c:v>
                </c:pt>
                <c:pt idx="79">
                  <c:v>3913</c:v>
                </c:pt>
                <c:pt idx="80">
                  <c:v>3971</c:v>
                </c:pt>
                <c:pt idx="81">
                  <c:v>3591</c:v>
                </c:pt>
                <c:pt idx="82">
                  <c:v>3316</c:v>
                </c:pt>
                <c:pt idx="83">
                  <c:v>3440</c:v>
                </c:pt>
                <c:pt idx="84">
                  <c:v>3156</c:v>
                </c:pt>
                <c:pt idx="85">
                  <c:v>3149</c:v>
                </c:pt>
                <c:pt idx="86">
                  <c:v>3244</c:v>
                </c:pt>
                <c:pt idx="87">
                  <c:v>3008</c:v>
                </c:pt>
                <c:pt idx="88">
                  <c:v>2976</c:v>
                </c:pt>
                <c:pt idx="89">
                  <c:v>2718</c:v>
                </c:pt>
                <c:pt idx="90">
                  <c:v>2621</c:v>
                </c:pt>
                <c:pt idx="91">
                  <c:v>2435</c:v>
                </c:pt>
                <c:pt idx="92">
                  <c:v>2467</c:v>
                </c:pt>
                <c:pt idx="93">
                  <c:v>2524</c:v>
                </c:pt>
                <c:pt idx="94">
                  <c:v>2413</c:v>
                </c:pt>
                <c:pt idx="95">
                  <c:v>2247</c:v>
                </c:pt>
                <c:pt idx="96">
                  <c:v>2094</c:v>
                </c:pt>
                <c:pt idx="97">
                  <c:v>2046</c:v>
                </c:pt>
                <c:pt idx="98">
                  <c:v>1901</c:v>
                </c:pt>
                <c:pt idx="99">
                  <c:v>1956</c:v>
                </c:pt>
                <c:pt idx="100">
                  <c:v>2006</c:v>
                </c:pt>
                <c:pt idx="101">
                  <c:v>1994</c:v>
                </c:pt>
                <c:pt idx="102">
                  <c:v>1901</c:v>
                </c:pt>
                <c:pt idx="103">
                  <c:v>1855</c:v>
                </c:pt>
                <c:pt idx="104">
                  <c:v>1863</c:v>
                </c:pt>
                <c:pt idx="105">
                  <c:v>1844</c:v>
                </c:pt>
                <c:pt idx="106">
                  <c:v>1845</c:v>
                </c:pt>
                <c:pt idx="107">
                  <c:v>1849</c:v>
                </c:pt>
                <c:pt idx="108">
                  <c:v>1900</c:v>
                </c:pt>
                <c:pt idx="109">
                  <c:v>1770</c:v>
                </c:pt>
                <c:pt idx="110">
                  <c:v>1703</c:v>
                </c:pt>
                <c:pt idx="111">
                  <c:v>1752</c:v>
                </c:pt>
                <c:pt idx="112">
                  <c:v>1765</c:v>
                </c:pt>
                <c:pt idx="113">
                  <c:v>1788</c:v>
                </c:pt>
                <c:pt idx="114">
                  <c:v>1754</c:v>
                </c:pt>
                <c:pt idx="115">
                  <c:v>1653</c:v>
                </c:pt>
                <c:pt idx="116">
                  <c:v>1628</c:v>
                </c:pt>
                <c:pt idx="117">
                  <c:v>1628</c:v>
                </c:pt>
                <c:pt idx="118">
                  <c:v>1673</c:v>
                </c:pt>
                <c:pt idx="119">
                  <c:v>1720</c:v>
                </c:pt>
                <c:pt idx="120">
                  <c:v>1818</c:v>
                </c:pt>
                <c:pt idx="121">
                  <c:v>1900</c:v>
                </c:pt>
                <c:pt idx="122">
                  <c:v>1766</c:v>
                </c:pt>
                <c:pt idx="123">
                  <c:v>1732</c:v>
                </c:pt>
                <c:pt idx="124">
                  <c:v>1567</c:v>
                </c:pt>
                <c:pt idx="125">
                  <c:v>1797</c:v>
                </c:pt>
                <c:pt idx="126">
                  <c:v>1886</c:v>
                </c:pt>
                <c:pt idx="127">
                  <c:v>1974</c:v>
                </c:pt>
                <c:pt idx="128">
                  <c:v>2116</c:v>
                </c:pt>
                <c:pt idx="129">
                  <c:v>2118</c:v>
                </c:pt>
                <c:pt idx="130">
                  <c:v>1985</c:v>
                </c:pt>
                <c:pt idx="131">
                  <c:v>1839</c:v>
                </c:pt>
                <c:pt idx="132">
                  <c:v>1981</c:v>
                </c:pt>
                <c:pt idx="133">
                  <c:v>2045</c:v>
                </c:pt>
                <c:pt idx="134">
                  <c:v>2149</c:v>
                </c:pt>
                <c:pt idx="135">
                  <c:v>2196</c:v>
                </c:pt>
                <c:pt idx="136">
                  <c:v>2112</c:v>
                </c:pt>
                <c:pt idx="137">
                  <c:v>1917</c:v>
                </c:pt>
                <c:pt idx="138">
                  <c:v>1761</c:v>
                </c:pt>
                <c:pt idx="139">
                  <c:v>1701</c:v>
                </c:pt>
                <c:pt idx="140">
                  <c:v>1588</c:v>
                </c:pt>
                <c:pt idx="141">
                  <c:v>1673</c:v>
                </c:pt>
                <c:pt idx="142">
                  <c:v>1743</c:v>
                </c:pt>
                <c:pt idx="143">
                  <c:v>1613</c:v>
                </c:pt>
                <c:pt idx="144">
                  <c:v>1547</c:v>
                </c:pt>
                <c:pt idx="145">
                  <c:v>1447</c:v>
                </c:pt>
                <c:pt idx="146">
                  <c:v>1407</c:v>
                </c:pt>
                <c:pt idx="147">
                  <c:v>1353</c:v>
                </c:pt>
                <c:pt idx="148">
                  <c:v>1405</c:v>
                </c:pt>
                <c:pt idx="149">
                  <c:v>1442</c:v>
                </c:pt>
                <c:pt idx="150">
                  <c:v>1300</c:v>
                </c:pt>
                <c:pt idx="151">
                  <c:v>1258</c:v>
                </c:pt>
                <c:pt idx="152">
                  <c:v>1121</c:v>
                </c:pt>
                <c:pt idx="153">
                  <c:v>1149</c:v>
                </c:pt>
                <c:pt idx="154">
                  <c:v>1171</c:v>
                </c:pt>
                <c:pt idx="155">
                  <c:v>1226</c:v>
                </c:pt>
                <c:pt idx="156">
                  <c:v>1255</c:v>
                </c:pt>
                <c:pt idx="157">
                  <c:v>1226</c:v>
                </c:pt>
                <c:pt idx="158">
                  <c:v>1165</c:v>
                </c:pt>
                <c:pt idx="159">
                  <c:v>1110</c:v>
                </c:pt>
                <c:pt idx="160">
                  <c:v>1125</c:v>
                </c:pt>
                <c:pt idx="161">
                  <c:v>1119</c:v>
                </c:pt>
                <c:pt idx="162">
                  <c:v>1158</c:v>
                </c:pt>
                <c:pt idx="163">
                  <c:v>1204</c:v>
                </c:pt>
                <c:pt idx="164">
                  <c:v>1169</c:v>
                </c:pt>
                <c:pt idx="165">
                  <c:v>1048</c:v>
                </c:pt>
                <c:pt idx="166">
                  <c:v>956</c:v>
                </c:pt>
                <c:pt idx="167">
                  <c:v>935</c:v>
                </c:pt>
                <c:pt idx="168">
                  <c:v>850</c:v>
                </c:pt>
                <c:pt idx="169">
                  <c:v>829</c:v>
                </c:pt>
                <c:pt idx="170">
                  <c:v>843</c:v>
                </c:pt>
                <c:pt idx="171">
                  <c:v>784</c:v>
                </c:pt>
                <c:pt idx="172">
                  <c:v>723</c:v>
                </c:pt>
                <c:pt idx="173">
                  <c:v>651</c:v>
                </c:pt>
                <c:pt idx="174">
                  <c:v>694</c:v>
                </c:pt>
                <c:pt idx="175">
                  <c:v>669</c:v>
                </c:pt>
                <c:pt idx="176">
                  <c:v>679</c:v>
                </c:pt>
                <c:pt idx="177">
                  <c:v>709</c:v>
                </c:pt>
                <c:pt idx="178">
                  <c:v>697</c:v>
                </c:pt>
                <c:pt idx="179">
                  <c:v>665</c:v>
                </c:pt>
                <c:pt idx="180">
                  <c:v>646</c:v>
                </c:pt>
                <c:pt idx="181">
                  <c:v>694</c:v>
                </c:pt>
                <c:pt idx="182">
                  <c:v>660</c:v>
                </c:pt>
                <c:pt idx="183">
                  <c:v>667</c:v>
                </c:pt>
                <c:pt idx="184">
                  <c:v>660</c:v>
                </c:pt>
                <c:pt idx="185">
                  <c:v>593</c:v>
                </c:pt>
                <c:pt idx="186">
                  <c:v>564</c:v>
                </c:pt>
                <c:pt idx="187">
                  <c:v>520</c:v>
                </c:pt>
                <c:pt idx="188">
                  <c:v>515</c:v>
                </c:pt>
                <c:pt idx="189">
                  <c:v>538</c:v>
                </c:pt>
                <c:pt idx="190">
                  <c:v>579</c:v>
                </c:pt>
                <c:pt idx="191">
                  <c:v>578</c:v>
                </c:pt>
                <c:pt idx="192">
                  <c:v>599</c:v>
                </c:pt>
                <c:pt idx="193">
                  <c:v>596</c:v>
                </c:pt>
                <c:pt idx="194">
                  <c:v>596</c:v>
                </c:pt>
                <c:pt idx="195">
                  <c:v>620</c:v>
                </c:pt>
                <c:pt idx="196">
                  <c:v>556</c:v>
                </c:pt>
                <c:pt idx="197">
                  <c:v>535</c:v>
                </c:pt>
                <c:pt idx="198">
                  <c:v>522</c:v>
                </c:pt>
                <c:pt idx="199">
                  <c:v>522</c:v>
                </c:pt>
                <c:pt idx="200">
                  <c:v>502</c:v>
                </c:pt>
                <c:pt idx="201">
                  <c:v>501</c:v>
                </c:pt>
                <c:pt idx="202">
                  <c:v>506</c:v>
                </c:pt>
                <c:pt idx="203">
                  <c:v>508</c:v>
                </c:pt>
                <c:pt idx="204">
                  <c:v>473</c:v>
                </c:pt>
                <c:pt idx="205">
                  <c:v>469</c:v>
                </c:pt>
                <c:pt idx="206">
                  <c:v>451</c:v>
                </c:pt>
                <c:pt idx="207">
                  <c:v>417</c:v>
                </c:pt>
                <c:pt idx="208">
                  <c:v>416</c:v>
                </c:pt>
                <c:pt idx="209">
                  <c:v>428</c:v>
                </c:pt>
                <c:pt idx="210">
                  <c:v>397</c:v>
                </c:pt>
                <c:pt idx="211">
                  <c:v>388</c:v>
                </c:pt>
                <c:pt idx="212">
                  <c:v>373</c:v>
                </c:pt>
                <c:pt idx="213">
                  <c:v>344</c:v>
                </c:pt>
                <c:pt idx="214">
                  <c:v>335</c:v>
                </c:pt>
                <c:pt idx="215">
                  <c:v>333</c:v>
                </c:pt>
                <c:pt idx="216">
                  <c:v>331</c:v>
                </c:pt>
                <c:pt idx="217">
                  <c:v>301</c:v>
                </c:pt>
                <c:pt idx="218">
                  <c:v>298</c:v>
                </c:pt>
                <c:pt idx="219">
                  <c:v>283</c:v>
                </c:pt>
                <c:pt idx="220">
                  <c:v>254</c:v>
                </c:pt>
                <c:pt idx="221">
                  <c:v>249</c:v>
                </c:pt>
                <c:pt idx="222">
                  <c:v>248</c:v>
                </c:pt>
                <c:pt idx="223">
                  <c:v>248</c:v>
                </c:pt>
                <c:pt idx="224">
                  <c:v>237</c:v>
                </c:pt>
                <c:pt idx="225">
                  <c:v>215</c:v>
                </c:pt>
                <c:pt idx="226">
                  <c:v>205</c:v>
                </c:pt>
                <c:pt idx="227">
                  <c:v>190</c:v>
                </c:pt>
                <c:pt idx="228">
                  <c:v>188</c:v>
                </c:pt>
                <c:pt idx="229">
                  <c:v>189</c:v>
                </c:pt>
                <c:pt idx="230">
                  <c:v>193</c:v>
                </c:pt>
                <c:pt idx="231">
                  <c:v>187</c:v>
                </c:pt>
                <c:pt idx="232">
                  <c:v>180</c:v>
                </c:pt>
                <c:pt idx="233">
                  <c:v>179</c:v>
                </c:pt>
                <c:pt idx="234">
                  <c:v>181</c:v>
                </c:pt>
                <c:pt idx="235">
                  <c:v>175</c:v>
                </c:pt>
                <c:pt idx="236">
                  <c:v>174</c:v>
                </c:pt>
                <c:pt idx="237">
                  <c:v>174</c:v>
                </c:pt>
                <c:pt idx="238">
                  <c:v>173</c:v>
                </c:pt>
                <c:pt idx="239">
                  <c:v>172</c:v>
                </c:pt>
                <c:pt idx="240">
                  <c:v>171</c:v>
                </c:pt>
                <c:pt idx="241">
                  <c:v>171</c:v>
                </c:pt>
                <c:pt idx="242">
                  <c:v>165</c:v>
                </c:pt>
                <c:pt idx="243">
                  <c:v>165</c:v>
                </c:pt>
                <c:pt idx="244">
                  <c:v>165</c:v>
                </c:pt>
                <c:pt idx="245">
                  <c:v>162</c:v>
                </c:pt>
                <c:pt idx="246">
                  <c:v>158</c:v>
                </c:pt>
                <c:pt idx="247">
                  <c:v>152</c:v>
                </c:pt>
                <c:pt idx="248">
                  <c:v>151</c:v>
                </c:pt>
                <c:pt idx="249">
                  <c:v>145</c:v>
                </c:pt>
                <c:pt idx="250">
                  <c:v>148</c:v>
                </c:pt>
                <c:pt idx="251">
                  <c:v>152</c:v>
                </c:pt>
                <c:pt idx="252">
                  <c:v>152</c:v>
                </c:pt>
                <c:pt idx="253">
                  <c:v>149</c:v>
                </c:pt>
                <c:pt idx="254">
                  <c:v>148</c:v>
                </c:pt>
                <c:pt idx="255">
                  <c:v>147</c:v>
                </c:pt>
                <c:pt idx="256">
                  <c:v>145</c:v>
                </c:pt>
                <c:pt idx="257">
                  <c:v>144</c:v>
                </c:pt>
                <c:pt idx="258">
                  <c:v>146</c:v>
                </c:pt>
                <c:pt idx="259">
                  <c:v>142</c:v>
                </c:pt>
                <c:pt idx="260">
                  <c:v>144</c:v>
                </c:pt>
                <c:pt idx="261">
                  <c:v>141</c:v>
                </c:pt>
                <c:pt idx="262">
                  <c:v>141</c:v>
                </c:pt>
                <c:pt idx="263">
                  <c:v>140</c:v>
                </c:pt>
                <c:pt idx="264">
                  <c:v>139</c:v>
                </c:pt>
                <c:pt idx="265">
                  <c:v>140</c:v>
                </c:pt>
                <c:pt idx="266">
                  <c:v>139</c:v>
                </c:pt>
                <c:pt idx="267">
                  <c:v>138</c:v>
                </c:pt>
                <c:pt idx="268">
                  <c:v>136</c:v>
                </c:pt>
                <c:pt idx="269">
                  <c:v>135</c:v>
                </c:pt>
                <c:pt idx="270">
                  <c:v>135</c:v>
                </c:pt>
                <c:pt idx="271">
                  <c:v>132</c:v>
                </c:pt>
                <c:pt idx="272">
                  <c:v>131</c:v>
                </c:pt>
                <c:pt idx="273">
                  <c:v>130</c:v>
                </c:pt>
                <c:pt idx="274">
                  <c:v>133</c:v>
                </c:pt>
                <c:pt idx="275">
                  <c:v>129</c:v>
                </c:pt>
                <c:pt idx="276">
                  <c:v>125</c:v>
                </c:pt>
                <c:pt idx="277">
                  <c:v>124</c:v>
                </c:pt>
                <c:pt idx="278">
                  <c:v>124</c:v>
                </c:pt>
                <c:pt idx="279">
                  <c:v>124</c:v>
                </c:pt>
                <c:pt idx="280">
                  <c:v>124</c:v>
                </c:pt>
                <c:pt idx="281">
                  <c:v>123</c:v>
                </c:pt>
                <c:pt idx="282">
                  <c:v>122</c:v>
                </c:pt>
                <c:pt idx="283">
                  <c:v>123</c:v>
                </c:pt>
                <c:pt idx="284">
                  <c:v>120</c:v>
                </c:pt>
                <c:pt idx="285">
                  <c:v>120</c:v>
                </c:pt>
                <c:pt idx="286">
                  <c:v>120</c:v>
                </c:pt>
                <c:pt idx="287">
                  <c:v>120</c:v>
                </c:pt>
                <c:pt idx="288">
                  <c:v>120</c:v>
                </c:pt>
                <c:pt idx="289">
                  <c:v>120</c:v>
                </c:pt>
                <c:pt idx="290">
                  <c:v>120</c:v>
                </c:pt>
                <c:pt idx="291">
                  <c:v>120</c:v>
                </c:pt>
                <c:pt idx="292">
                  <c:v>120</c:v>
                </c:pt>
                <c:pt idx="293">
                  <c:v>120</c:v>
                </c:pt>
                <c:pt idx="294">
                  <c:v>120</c:v>
                </c:pt>
                <c:pt idx="295">
                  <c:v>121</c:v>
                </c:pt>
                <c:pt idx="296">
                  <c:v>121</c:v>
                </c:pt>
                <c:pt idx="297">
                  <c:v>120</c:v>
                </c:pt>
                <c:pt idx="298">
                  <c:v>120</c:v>
                </c:pt>
                <c:pt idx="299">
                  <c:v>120</c:v>
                </c:pt>
                <c:pt idx="300">
                  <c:v>120</c:v>
                </c:pt>
                <c:pt idx="301">
                  <c:v>120</c:v>
                </c:pt>
                <c:pt idx="302">
                  <c:v>119</c:v>
                </c:pt>
                <c:pt idx="303">
                  <c:v>120</c:v>
                </c:pt>
                <c:pt idx="304">
                  <c:v>118</c:v>
                </c:pt>
                <c:pt idx="305">
                  <c:v>118</c:v>
                </c:pt>
                <c:pt idx="306">
                  <c:v>119</c:v>
                </c:pt>
                <c:pt idx="307">
                  <c:v>119</c:v>
                </c:pt>
                <c:pt idx="308">
                  <c:v>119</c:v>
                </c:pt>
                <c:pt idx="309">
                  <c:v>119</c:v>
                </c:pt>
                <c:pt idx="310">
                  <c:v>118</c:v>
                </c:pt>
                <c:pt idx="311">
                  <c:v>118</c:v>
                </c:pt>
                <c:pt idx="312">
                  <c:v>118</c:v>
                </c:pt>
                <c:pt idx="313">
                  <c:v>118</c:v>
                </c:pt>
                <c:pt idx="314">
                  <c:v>118</c:v>
                </c:pt>
                <c:pt idx="315">
                  <c:v>118</c:v>
                </c:pt>
                <c:pt idx="316">
                  <c:v>118</c:v>
                </c:pt>
                <c:pt idx="317">
                  <c:v>118</c:v>
                </c:pt>
                <c:pt idx="318">
                  <c:v>118</c:v>
                </c:pt>
                <c:pt idx="319">
                  <c:v>118</c:v>
                </c:pt>
                <c:pt idx="320">
                  <c:v>118</c:v>
                </c:pt>
                <c:pt idx="321">
                  <c:v>118</c:v>
                </c:pt>
                <c:pt idx="322">
                  <c:v>117</c:v>
                </c:pt>
                <c:pt idx="323">
                  <c:v>117</c:v>
                </c:pt>
                <c:pt idx="324">
                  <c:v>117</c:v>
                </c:pt>
                <c:pt idx="325">
                  <c:v>117</c:v>
                </c:pt>
                <c:pt idx="326">
                  <c:v>118</c:v>
                </c:pt>
                <c:pt idx="327">
                  <c:v>117</c:v>
                </c:pt>
                <c:pt idx="328">
                  <c:v>117</c:v>
                </c:pt>
                <c:pt idx="329">
                  <c:v>117</c:v>
                </c:pt>
                <c:pt idx="330">
                  <c:v>117</c:v>
                </c:pt>
                <c:pt idx="331">
                  <c:v>117</c:v>
                </c:pt>
                <c:pt idx="332">
                  <c:v>116</c:v>
                </c:pt>
                <c:pt idx="333">
                  <c:v>116</c:v>
                </c:pt>
                <c:pt idx="334">
                  <c:v>116</c:v>
                </c:pt>
                <c:pt idx="335">
                  <c:v>116</c:v>
                </c:pt>
                <c:pt idx="336">
                  <c:v>115</c:v>
                </c:pt>
                <c:pt idx="337">
                  <c:v>115</c:v>
                </c:pt>
                <c:pt idx="338">
                  <c:v>115</c:v>
                </c:pt>
                <c:pt idx="339">
                  <c:v>115</c:v>
                </c:pt>
                <c:pt idx="340">
                  <c:v>115</c:v>
                </c:pt>
                <c:pt idx="341">
                  <c:v>115</c:v>
                </c:pt>
                <c:pt idx="342">
                  <c:v>115</c:v>
                </c:pt>
                <c:pt idx="343">
                  <c:v>115</c:v>
                </c:pt>
                <c:pt idx="344">
                  <c:v>115</c:v>
                </c:pt>
                <c:pt idx="345">
                  <c:v>115</c:v>
                </c:pt>
                <c:pt idx="346">
                  <c:v>115</c:v>
                </c:pt>
                <c:pt idx="347">
                  <c:v>115</c:v>
                </c:pt>
                <c:pt idx="348">
                  <c:v>115</c:v>
                </c:pt>
                <c:pt idx="349">
                  <c:v>116</c:v>
                </c:pt>
                <c:pt idx="350">
                  <c:v>117</c:v>
                </c:pt>
                <c:pt idx="351">
                  <c:v>117</c:v>
                </c:pt>
                <c:pt idx="352">
                  <c:v>118</c:v>
                </c:pt>
                <c:pt idx="353">
                  <c:v>117</c:v>
                </c:pt>
                <c:pt idx="354">
                  <c:v>117</c:v>
                </c:pt>
                <c:pt idx="355">
                  <c:v>117</c:v>
                </c:pt>
                <c:pt idx="356">
                  <c:v>119</c:v>
                </c:pt>
                <c:pt idx="357">
                  <c:v>119</c:v>
                </c:pt>
                <c:pt idx="358">
                  <c:v>119</c:v>
                </c:pt>
                <c:pt idx="359">
                  <c:v>119</c:v>
                </c:pt>
                <c:pt idx="360">
                  <c:v>119</c:v>
                </c:pt>
                <c:pt idx="361">
                  <c:v>118</c:v>
                </c:pt>
                <c:pt idx="362">
                  <c:v>118</c:v>
                </c:pt>
                <c:pt idx="363">
                  <c:v>118</c:v>
                </c:pt>
                <c:pt idx="364">
                  <c:v>118</c:v>
                </c:pt>
                <c:pt idx="365">
                  <c:v>119</c:v>
                </c:pt>
                <c:pt idx="366">
                  <c:v>123</c:v>
                </c:pt>
                <c:pt idx="367">
                  <c:v>125</c:v>
                </c:pt>
                <c:pt idx="368">
                  <c:v>126</c:v>
                </c:pt>
                <c:pt idx="369">
                  <c:v>125</c:v>
                </c:pt>
                <c:pt idx="370">
                  <c:v>129</c:v>
                </c:pt>
                <c:pt idx="371">
                  <c:v>126</c:v>
                </c:pt>
                <c:pt idx="372">
                  <c:v>126</c:v>
                </c:pt>
                <c:pt idx="373">
                  <c:v>126</c:v>
                </c:pt>
                <c:pt idx="374">
                  <c:v>126</c:v>
                </c:pt>
                <c:pt idx="375">
                  <c:v>126</c:v>
                </c:pt>
                <c:pt idx="376">
                  <c:v>126</c:v>
                </c:pt>
                <c:pt idx="377">
                  <c:v>127</c:v>
                </c:pt>
                <c:pt idx="378">
                  <c:v>127</c:v>
                </c:pt>
                <c:pt idx="379">
                  <c:v>127</c:v>
                </c:pt>
                <c:pt idx="380">
                  <c:v>126</c:v>
                </c:pt>
                <c:pt idx="381">
                  <c:v>124</c:v>
                </c:pt>
                <c:pt idx="382">
                  <c:v>124</c:v>
                </c:pt>
                <c:pt idx="383">
                  <c:v>124</c:v>
                </c:pt>
                <c:pt idx="384">
                  <c:v>125</c:v>
                </c:pt>
                <c:pt idx="385">
                  <c:v>122</c:v>
                </c:pt>
                <c:pt idx="386">
                  <c:v>122</c:v>
                </c:pt>
                <c:pt idx="387">
                  <c:v>120</c:v>
                </c:pt>
                <c:pt idx="388">
                  <c:v>120</c:v>
                </c:pt>
                <c:pt idx="389">
                  <c:v>120</c:v>
                </c:pt>
                <c:pt idx="390">
                  <c:v>120</c:v>
                </c:pt>
                <c:pt idx="391">
                  <c:v>122</c:v>
                </c:pt>
                <c:pt idx="392">
                  <c:v>120</c:v>
                </c:pt>
                <c:pt idx="393">
                  <c:v>121</c:v>
                </c:pt>
                <c:pt idx="394">
                  <c:v>121</c:v>
                </c:pt>
                <c:pt idx="395">
                  <c:v>122</c:v>
                </c:pt>
                <c:pt idx="396">
                  <c:v>123</c:v>
                </c:pt>
                <c:pt idx="397">
                  <c:v>124</c:v>
                </c:pt>
                <c:pt idx="398">
                  <c:v>126</c:v>
                </c:pt>
                <c:pt idx="399">
                  <c:v>128</c:v>
                </c:pt>
                <c:pt idx="400">
                  <c:v>136</c:v>
                </c:pt>
                <c:pt idx="401">
                  <c:v>135</c:v>
                </c:pt>
                <c:pt idx="402">
                  <c:v>160</c:v>
                </c:pt>
                <c:pt idx="403">
                  <c:v>160</c:v>
                </c:pt>
                <c:pt idx="404">
                  <c:v>160</c:v>
                </c:pt>
                <c:pt idx="405">
                  <c:v>161</c:v>
                </c:pt>
                <c:pt idx="406">
                  <c:v>161</c:v>
                </c:pt>
                <c:pt idx="407">
                  <c:v>180</c:v>
                </c:pt>
                <c:pt idx="408">
                  <c:v>182</c:v>
                </c:pt>
                <c:pt idx="409">
                  <c:v>182</c:v>
                </c:pt>
                <c:pt idx="410">
                  <c:v>182</c:v>
                </c:pt>
                <c:pt idx="411">
                  <c:v>181</c:v>
                </c:pt>
                <c:pt idx="412">
                  <c:v>185</c:v>
                </c:pt>
                <c:pt idx="413">
                  <c:v>186</c:v>
                </c:pt>
                <c:pt idx="414">
                  <c:v>180</c:v>
                </c:pt>
                <c:pt idx="415">
                  <c:v>180</c:v>
                </c:pt>
                <c:pt idx="416">
                  <c:v>163</c:v>
                </c:pt>
                <c:pt idx="417">
                  <c:v>162</c:v>
                </c:pt>
                <c:pt idx="418">
                  <c:v>160</c:v>
                </c:pt>
                <c:pt idx="419">
                  <c:v>173</c:v>
                </c:pt>
                <c:pt idx="420">
                  <c:v>181</c:v>
                </c:pt>
                <c:pt idx="421">
                  <c:v>189</c:v>
                </c:pt>
                <c:pt idx="422">
                  <c:v>173</c:v>
                </c:pt>
                <c:pt idx="423">
                  <c:v>191</c:v>
                </c:pt>
                <c:pt idx="424">
                  <c:v>194</c:v>
                </c:pt>
                <c:pt idx="425">
                  <c:v>203</c:v>
                </c:pt>
                <c:pt idx="426">
                  <c:v>238</c:v>
                </c:pt>
                <c:pt idx="427">
                  <c:v>249</c:v>
                </c:pt>
                <c:pt idx="428">
                  <c:v>254</c:v>
                </c:pt>
                <c:pt idx="429">
                  <c:v>301</c:v>
                </c:pt>
                <c:pt idx="430">
                  <c:v>320</c:v>
                </c:pt>
                <c:pt idx="431">
                  <c:v>314</c:v>
                </c:pt>
                <c:pt idx="432">
                  <c:v>313</c:v>
                </c:pt>
                <c:pt idx="433">
                  <c:v>337</c:v>
                </c:pt>
                <c:pt idx="434">
                  <c:v>351</c:v>
                </c:pt>
                <c:pt idx="435">
                  <c:v>357</c:v>
                </c:pt>
                <c:pt idx="436">
                  <c:v>366</c:v>
                </c:pt>
                <c:pt idx="437">
                  <c:v>378</c:v>
                </c:pt>
                <c:pt idx="438">
                  <c:v>375</c:v>
                </c:pt>
                <c:pt idx="439">
                  <c:v>380</c:v>
                </c:pt>
                <c:pt idx="440">
                  <c:v>410</c:v>
                </c:pt>
                <c:pt idx="441">
                  <c:v>412</c:v>
                </c:pt>
                <c:pt idx="442">
                  <c:v>414</c:v>
                </c:pt>
                <c:pt idx="443">
                  <c:v>445</c:v>
                </c:pt>
                <c:pt idx="444">
                  <c:v>501</c:v>
                </c:pt>
                <c:pt idx="445">
                  <c:v>504</c:v>
                </c:pt>
                <c:pt idx="446">
                  <c:v>502</c:v>
                </c:pt>
                <c:pt idx="447">
                  <c:v>542</c:v>
                </c:pt>
                <c:pt idx="448">
                  <c:v>529</c:v>
                </c:pt>
                <c:pt idx="449">
                  <c:v>537</c:v>
                </c:pt>
                <c:pt idx="450">
                  <c:v>537</c:v>
                </c:pt>
                <c:pt idx="451">
                  <c:v>569</c:v>
                </c:pt>
                <c:pt idx="452">
                  <c:v>554</c:v>
                </c:pt>
                <c:pt idx="453">
                  <c:v>555</c:v>
                </c:pt>
                <c:pt idx="454">
                  <c:v>585</c:v>
                </c:pt>
                <c:pt idx="455">
                  <c:v>564</c:v>
                </c:pt>
                <c:pt idx="456">
                  <c:v>537</c:v>
                </c:pt>
                <c:pt idx="457">
                  <c:v>538</c:v>
                </c:pt>
                <c:pt idx="458">
                  <c:v>432</c:v>
                </c:pt>
                <c:pt idx="459">
                  <c:v>453</c:v>
                </c:pt>
                <c:pt idx="460">
                  <c:v>433</c:v>
                </c:pt>
                <c:pt idx="461">
                  <c:v>451</c:v>
                </c:pt>
                <c:pt idx="462">
                  <c:v>429</c:v>
                </c:pt>
                <c:pt idx="463">
                  <c:v>419</c:v>
                </c:pt>
                <c:pt idx="464">
                  <c:v>408</c:v>
                </c:pt>
                <c:pt idx="465">
                  <c:v>365</c:v>
                </c:pt>
                <c:pt idx="466">
                  <c:v>352</c:v>
                </c:pt>
                <c:pt idx="467">
                  <c:v>349</c:v>
                </c:pt>
                <c:pt idx="468">
                  <c:v>356</c:v>
                </c:pt>
                <c:pt idx="469">
                  <c:v>344</c:v>
                </c:pt>
                <c:pt idx="470">
                  <c:v>335</c:v>
                </c:pt>
                <c:pt idx="471">
                  <c:v>312</c:v>
                </c:pt>
                <c:pt idx="472">
                  <c:v>295</c:v>
                </c:pt>
                <c:pt idx="473">
                  <c:v>248</c:v>
                </c:pt>
                <c:pt idx="474">
                  <c:v>249</c:v>
                </c:pt>
                <c:pt idx="475">
                  <c:v>259</c:v>
                </c:pt>
                <c:pt idx="476">
                  <c:v>233</c:v>
                </c:pt>
                <c:pt idx="477">
                  <c:v>214</c:v>
                </c:pt>
                <c:pt idx="478">
                  <c:v>183</c:v>
                </c:pt>
                <c:pt idx="479">
                  <c:v>160</c:v>
                </c:pt>
                <c:pt idx="480">
                  <c:v>150</c:v>
                </c:pt>
                <c:pt idx="481">
                  <c:v>145</c:v>
                </c:pt>
                <c:pt idx="482">
                  <c:v>154</c:v>
                </c:pt>
                <c:pt idx="483">
                  <c:v>128</c:v>
                </c:pt>
                <c:pt idx="484">
                  <c:v>122</c:v>
                </c:pt>
                <c:pt idx="485">
                  <c:v>107</c:v>
                </c:pt>
                <c:pt idx="486">
                  <c:v>100</c:v>
                </c:pt>
                <c:pt idx="487">
                  <c:v>91</c:v>
                </c:pt>
                <c:pt idx="488">
                  <c:v>87</c:v>
                </c:pt>
                <c:pt idx="489">
                  <c:v>89</c:v>
                </c:pt>
                <c:pt idx="490">
                  <c:v>76</c:v>
                </c:pt>
                <c:pt idx="491">
                  <c:v>74</c:v>
                </c:pt>
                <c:pt idx="492">
                  <c:v>72</c:v>
                </c:pt>
                <c:pt idx="493">
                  <c:v>72</c:v>
                </c:pt>
                <c:pt idx="494">
                  <c:v>68</c:v>
                </c:pt>
                <c:pt idx="495">
                  <c:v>68</c:v>
                </c:pt>
                <c:pt idx="496">
                  <c:v>67</c:v>
                </c:pt>
                <c:pt idx="497">
                  <c:v>61</c:v>
                </c:pt>
                <c:pt idx="498">
                  <c:v>60</c:v>
                </c:pt>
                <c:pt idx="499">
                  <c:v>59</c:v>
                </c:pt>
                <c:pt idx="500">
                  <c:v>62</c:v>
                </c:pt>
                <c:pt idx="501">
                  <c:v>59</c:v>
                </c:pt>
                <c:pt idx="502">
                  <c:v>62</c:v>
                </c:pt>
                <c:pt idx="503">
                  <c:v>74</c:v>
                </c:pt>
                <c:pt idx="504">
                  <c:v>79</c:v>
                </c:pt>
                <c:pt idx="505">
                  <c:v>83</c:v>
                </c:pt>
                <c:pt idx="506">
                  <c:v>88</c:v>
                </c:pt>
                <c:pt idx="507">
                  <c:v>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List1!$C$2:$C$509</c:f>
              <c:numCache>
                <c:formatCode>General</c:formatCode>
                <c:ptCount val="508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6</c:v>
                </c:pt>
                <c:pt idx="29">
                  <c:v>60</c:v>
                </c:pt>
                <c:pt idx="30">
                  <c:v>88</c:v>
                </c:pt>
                <c:pt idx="31">
                  <c:v>177</c:v>
                </c:pt>
                <c:pt idx="32">
                  <c:v>202</c:v>
                </c:pt>
                <c:pt idx="33">
                  <c:v>216</c:v>
                </c:pt>
                <c:pt idx="34">
                  <c:v>300</c:v>
                </c:pt>
                <c:pt idx="35">
                  <c:v>335</c:v>
                </c:pt>
                <c:pt idx="36">
                  <c:v>363</c:v>
                </c:pt>
                <c:pt idx="37">
                  <c:v>444</c:v>
                </c:pt>
                <c:pt idx="38">
                  <c:v>523</c:v>
                </c:pt>
                <c:pt idx="39">
                  <c:v>561</c:v>
                </c:pt>
                <c:pt idx="40">
                  <c:v>575</c:v>
                </c:pt>
                <c:pt idx="41">
                  <c:v>704</c:v>
                </c:pt>
                <c:pt idx="42">
                  <c:v>826</c:v>
                </c:pt>
                <c:pt idx="43">
                  <c:v>992</c:v>
                </c:pt>
                <c:pt idx="44">
                  <c:v>1163</c:v>
                </c:pt>
                <c:pt idx="45">
                  <c:v>1329</c:v>
                </c:pt>
                <c:pt idx="46">
                  <c:v>1399</c:v>
                </c:pt>
                <c:pt idx="47">
                  <c:v>1392</c:v>
                </c:pt>
                <c:pt idx="48">
                  <c:v>1532</c:v>
                </c:pt>
                <c:pt idx="49">
                  <c:v>1670</c:v>
                </c:pt>
                <c:pt idx="50">
                  <c:v>1889</c:v>
                </c:pt>
                <c:pt idx="51">
                  <c:v>2047</c:v>
                </c:pt>
                <c:pt idx="52">
                  <c:v>2307</c:v>
                </c:pt>
                <c:pt idx="53">
                  <c:v>2380</c:v>
                </c:pt>
                <c:pt idx="54">
                  <c:v>2345</c:v>
                </c:pt>
                <c:pt idx="55">
                  <c:v>2506</c:v>
                </c:pt>
                <c:pt idx="56">
                  <c:v>2678</c:v>
                </c:pt>
                <c:pt idx="57">
                  <c:v>2692</c:v>
                </c:pt>
                <c:pt idx="58">
                  <c:v>3087</c:v>
                </c:pt>
                <c:pt idx="59">
                  <c:v>3220</c:v>
                </c:pt>
                <c:pt idx="60">
                  <c:v>3136</c:v>
                </c:pt>
                <c:pt idx="61">
                  <c:v>2976</c:v>
                </c:pt>
                <c:pt idx="62">
                  <c:v>2991</c:v>
                </c:pt>
                <c:pt idx="63">
                  <c:v>2919</c:v>
                </c:pt>
                <c:pt idx="64">
                  <c:v>3109</c:v>
                </c:pt>
                <c:pt idx="65">
                  <c:v>3283</c:v>
                </c:pt>
                <c:pt idx="66">
                  <c:v>3101</c:v>
                </c:pt>
                <c:pt idx="67">
                  <c:v>2852</c:v>
                </c:pt>
                <c:pt idx="68">
                  <c:v>2753</c:v>
                </c:pt>
                <c:pt idx="69">
                  <c:v>2599</c:v>
                </c:pt>
                <c:pt idx="70">
                  <c:v>2458</c:v>
                </c:pt>
                <c:pt idx="71">
                  <c:v>2575</c:v>
                </c:pt>
                <c:pt idx="72">
                  <c:v>2698</c:v>
                </c:pt>
                <c:pt idx="73">
                  <c:v>2600</c:v>
                </c:pt>
                <c:pt idx="74">
                  <c:v>2398</c:v>
                </c:pt>
                <c:pt idx="75">
                  <c:v>2156</c:v>
                </c:pt>
                <c:pt idx="76">
                  <c:v>2115</c:v>
                </c:pt>
                <c:pt idx="77">
                  <c:v>1956</c:v>
                </c:pt>
                <c:pt idx="78">
                  <c:v>2057</c:v>
                </c:pt>
                <c:pt idx="79">
                  <c:v>2129</c:v>
                </c:pt>
                <c:pt idx="80">
                  <c:v>2074</c:v>
                </c:pt>
                <c:pt idx="81">
                  <c:v>1819</c:v>
                </c:pt>
                <c:pt idx="82">
                  <c:v>1633</c:v>
                </c:pt>
                <c:pt idx="83">
                  <c:v>1611</c:v>
                </c:pt>
                <c:pt idx="84">
                  <c:v>1550</c:v>
                </c:pt>
                <c:pt idx="85">
                  <c:v>1574</c:v>
                </c:pt>
                <c:pt idx="86">
                  <c:v>1598</c:v>
                </c:pt>
                <c:pt idx="87">
                  <c:v>1553</c:v>
                </c:pt>
                <c:pt idx="88">
                  <c:v>1515</c:v>
                </c:pt>
                <c:pt idx="89">
                  <c:v>1370</c:v>
                </c:pt>
                <c:pt idx="90">
                  <c:v>1341</c:v>
                </c:pt>
                <c:pt idx="91">
                  <c:v>1335</c:v>
                </c:pt>
                <c:pt idx="92">
                  <c:v>1380</c:v>
                </c:pt>
                <c:pt idx="93">
                  <c:v>1419</c:v>
                </c:pt>
                <c:pt idx="94">
                  <c:v>1354</c:v>
                </c:pt>
                <c:pt idx="95">
                  <c:v>1292</c:v>
                </c:pt>
                <c:pt idx="96">
                  <c:v>1220</c:v>
                </c:pt>
                <c:pt idx="97">
                  <c:v>1279</c:v>
                </c:pt>
                <c:pt idx="98">
                  <c:v>1267</c:v>
                </c:pt>
                <c:pt idx="99">
                  <c:v>1305</c:v>
                </c:pt>
                <c:pt idx="100">
                  <c:v>1351</c:v>
                </c:pt>
                <c:pt idx="101">
                  <c:v>1332</c:v>
                </c:pt>
                <c:pt idx="102">
                  <c:v>1261</c:v>
                </c:pt>
                <c:pt idx="103">
                  <c:v>1221</c:v>
                </c:pt>
                <c:pt idx="104">
                  <c:v>1257</c:v>
                </c:pt>
                <c:pt idx="105">
                  <c:v>1260</c:v>
                </c:pt>
                <c:pt idx="106">
                  <c:v>1328</c:v>
                </c:pt>
                <c:pt idx="107">
                  <c:v>1361</c:v>
                </c:pt>
                <c:pt idx="108">
                  <c:v>1313</c:v>
                </c:pt>
                <c:pt idx="109">
                  <c:v>1257</c:v>
                </c:pt>
                <c:pt idx="110">
                  <c:v>1208</c:v>
                </c:pt>
                <c:pt idx="111">
                  <c:v>1308</c:v>
                </c:pt>
                <c:pt idx="112">
                  <c:v>1353</c:v>
                </c:pt>
                <c:pt idx="113">
                  <c:v>1442</c:v>
                </c:pt>
                <c:pt idx="114">
                  <c:v>1457</c:v>
                </c:pt>
                <c:pt idx="115">
                  <c:v>1404</c:v>
                </c:pt>
                <c:pt idx="116">
                  <c:v>1360</c:v>
                </c:pt>
                <c:pt idx="117">
                  <c:v>1330</c:v>
                </c:pt>
                <c:pt idx="118">
                  <c:v>1442</c:v>
                </c:pt>
                <c:pt idx="119">
                  <c:v>1531</c:v>
                </c:pt>
                <c:pt idx="120">
                  <c:v>1607</c:v>
                </c:pt>
                <c:pt idx="121">
                  <c:v>1674</c:v>
                </c:pt>
                <c:pt idx="122">
                  <c:v>1578</c:v>
                </c:pt>
                <c:pt idx="123">
                  <c:v>1507</c:v>
                </c:pt>
                <c:pt idx="124">
                  <c:v>1440</c:v>
                </c:pt>
                <c:pt idx="125">
                  <c:v>1702</c:v>
                </c:pt>
                <c:pt idx="126">
                  <c:v>1825</c:v>
                </c:pt>
                <c:pt idx="127">
                  <c:v>1899</c:v>
                </c:pt>
                <c:pt idx="128">
                  <c:v>1960</c:v>
                </c:pt>
                <c:pt idx="129">
                  <c:v>1861</c:v>
                </c:pt>
                <c:pt idx="130">
                  <c:v>1747</c:v>
                </c:pt>
                <c:pt idx="131">
                  <c:v>1630</c:v>
                </c:pt>
                <c:pt idx="132">
                  <c:v>1774</c:v>
                </c:pt>
                <c:pt idx="133">
                  <c:v>1859</c:v>
                </c:pt>
                <c:pt idx="134">
                  <c:v>1931</c:v>
                </c:pt>
                <c:pt idx="135">
                  <c:v>1932</c:v>
                </c:pt>
                <c:pt idx="136">
                  <c:v>1789</c:v>
                </c:pt>
                <c:pt idx="137">
                  <c:v>1647</c:v>
                </c:pt>
                <c:pt idx="138">
                  <c:v>1537</c:v>
                </c:pt>
                <c:pt idx="139">
                  <c:v>1536</c:v>
                </c:pt>
                <c:pt idx="140">
                  <c:v>1485</c:v>
                </c:pt>
                <c:pt idx="141">
                  <c:v>1516</c:v>
                </c:pt>
                <c:pt idx="142">
                  <c:v>1544</c:v>
                </c:pt>
                <c:pt idx="143">
                  <c:v>1451</c:v>
                </c:pt>
                <c:pt idx="144">
                  <c:v>1374</c:v>
                </c:pt>
                <c:pt idx="145">
                  <c:v>1264</c:v>
                </c:pt>
                <c:pt idx="146">
                  <c:v>1276</c:v>
                </c:pt>
                <c:pt idx="147">
                  <c:v>1280</c:v>
                </c:pt>
                <c:pt idx="148">
                  <c:v>1308</c:v>
                </c:pt>
                <c:pt idx="149">
                  <c:v>1319</c:v>
                </c:pt>
                <c:pt idx="150">
                  <c:v>1235</c:v>
                </c:pt>
                <c:pt idx="151">
                  <c:v>1169</c:v>
                </c:pt>
                <c:pt idx="152">
                  <c:v>1091</c:v>
                </c:pt>
                <c:pt idx="153">
                  <c:v>1112</c:v>
                </c:pt>
                <c:pt idx="154">
                  <c:v>1104</c:v>
                </c:pt>
                <c:pt idx="155">
                  <c:v>1143</c:v>
                </c:pt>
                <c:pt idx="156">
                  <c:v>1165</c:v>
                </c:pt>
                <c:pt idx="157">
                  <c:v>1112</c:v>
                </c:pt>
                <c:pt idx="158">
                  <c:v>1042</c:v>
                </c:pt>
                <c:pt idx="159">
                  <c:v>1000</c:v>
                </c:pt>
                <c:pt idx="160">
                  <c:v>1023</c:v>
                </c:pt>
                <c:pt idx="161">
                  <c:v>990</c:v>
                </c:pt>
                <c:pt idx="162">
                  <c:v>1006</c:v>
                </c:pt>
                <c:pt idx="163">
                  <c:v>1032</c:v>
                </c:pt>
                <c:pt idx="164">
                  <c:v>995</c:v>
                </c:pt>
                <c:pt idx="165">
                  <c:v>935</c:v>
                </c:pt>
                <c:pt idx="166">
                  <c:v>884</c:v>
                </c:pt>
                <c:pt idx="167">
                  <c:v>902</c:v>
                </c:pt>
                <c:pt idx="168">
                  <c:v>893</c:v>
                </c:pt>
                <c:pt idx="169">
                  <c:v>912</c:v>
                </c:pt>
                <c:pt idx="170">
                  <c:v>927</c:v>
                </c:pt>
                <c:pt idx="171">
                  <c:v>899</c:v>
                </c:pt>
                <c:pt idx="172">
                  <c:v>859</c:v>
                </c:pt>
                <c:pt idx="173">
                  <c:v>832</c:v>
                </c:pt>
                <c:pt idx="174">
                  <c:v>865</c:v>
                </c:pt>
                <c:pt idx="175">
                  <c:v>878</c:v>
                </c:pt>
                <c:pt idx="176">
                  <c:v>893</c:v>
                </c:pt>
                <c:pt idx="177">
                  <c:v>919</c:v>
                </c:pt>
                <c:pt idx="178">
                  <c:v>897</c:v>
                </c:pt>
                <c:pt idx="179">
                  <c:v>848</c:v>
                </c:pt>
                <c:pt idx="180">
                  <c:v>813</c:v>
                </c:pt>
                <c:pt idx="181">
                  <c:v>838</c:v>
                </c:pt>
                <c:pt idx="182">
                  <c:v>832</c:v>
                </c:pt>
                <c:pt idx="183">
                  <c:v>873</c:v>
                </c:pt>
                <c:pt idx="184">
                  <c:v>900</c:v>
                </c:pt>
                <c:pt idx="185">
                  <c:v>849</c:v>
                </c:pt>
                <c:pt idx="186">
                  <c:v>798</c:v>
                </c:pt>
                <c:pt idx="187">
                  <c:v>766</c:v>
                </c:pt>
                <c:pt idx="188">
                  <c:v>786</c:v>
                </c:pt>
                <c:pt idx="189">
                  <c:v>772</c:v>
                </c:pt>
                <c:pt idx="190">
                  <c:v>793</c:v>
                </c:pt>
                <c:pt idx="191">
                  <c:v>808</c:v>
                </c:pt>
                <c:pt idx="192">
                  <c:v>824</c:v>
                </c:pt>
                <c:pt idx="193">
                  <c:v>833</c:v>
                </c:pt>
                <c:pt idx="194">
                  <c:v>839</c:v>
                </c:pt>
                <c:pt idx="195">
                  <c:v>877</c:v>
                </c:pt>
                <c:pt idx="196">
                  <c:v>838</c:v>
                </c:pt>
                <c:pt idx="197">
                  <c:v>815</c:v>
                </c:pt>
                <c:pt idx="198">
                  <c:v>776</c:v>
                </c:pt>
                <c:pt idx="199">
                  <c:v>757</c:v>
                </c:pt>
                <c:pt idx="200">
                  <c:v>724</c:v>
                </c:pt>
                <c:pt idx="201">
                  <c:v>718</c:v>
                </c:pt>
                <c:pt idx="202">
                  <c:v>743</c:v>
                </c:pt>
                <c:pt idx="203">
                  <c:v>698</c:v>
                </c:pt>
                <c:pt idx="204">
                  <c:v>672</c:v>
                </c:pt>
                <c:pt idx="205">
                  <c:v>644</c:v>
                </c:pt>
                <c:pt idx="206">
                  <c:v>631</c:v>
                </c:pt>
                <c:pt idx="207">
                  <c:v>608</c:v>
                </c:pt>
                <c:pt idx="208">
                  <c:v>600</c:v>
                </c:pt>
                <c:pt idx="209">
                  <c:v>606</c:v>
                </c:pt>
                <c:pt idx="210">
                  <c:v>592</c:v>
                </c:pt>
                <c:pt idx="211">
                  <c:v>565</c:v>
                </c:pt>
                <c:pt idx="212">
                  <c:v>556</c:v>
                </c:pt>
                <c:pt idx="213">
                  <c:v>531</c:v>
                </c:pt>
                <c:pt idx="214">
                  <c:v>515</c:v>
                </c:pt>
                <c:pt idx="215">
                  <c:v>514</c:v>
                </c:pt>
                <c:pt idx="216">
                  <c:v>517</c:v>
                </c:pt>
                <c:pt idx="217">
                  <c:v>503</c:v>
                </c:pt>
                <c:pt idx="218">
                  <c:v>495</c:v>
                </c:pt>
                <c:pt idx="219">
                  <c:v>493</c:v>
                </c:pt>
                <c:pt idx="220">
                  <c:v>487</c:v>
                </c:pt>
                <c:pt idx="221">
                  <c:v>473</c:v>
                </c:pt>
                <c:pt idx="222">
                  <c:v>469</c:v>
                </c:pt>
                <c:pt idx="223">
                  <c:v>474</c:v>
                </c:pt>
                <c:pt idx="224">
                  <c:v>450</c:v>
                </c:pt>
                <c:pt idx="225">
                  <c:v>443</c:v>
                </c:pt>
                <c:pt idx="226">
                  <c:v>437</c:v>
                </c:pt>
                <c:pt idx="227">
                  <c:v>433</c:v>
                </c:pt>
                <c:pt idx="228">
                  <c:v>432</c:v>
                </c:pt>
                <c:pt idx="229">
                  <c:v>429</c:v>
                </c:pt>
                <c:pt idx="230">
                  <c:v>437</c:v>
                </c:pt>
                <c:pt idx="231">
                  <c:v>432</c:v>
                </c:pt>
                <c:pt idx="232">
                  <c:v>408</c:v>
                </c:pt>
                <c:pt idx="233">
                  <c:v>390</c:v>
                </c:pt>
                <c:pt idx="234">
                  <c:v>382</c:v>
                </c:pt>
                <c:pt idx="235">
                  <c:v>375</c:v>
                </c:pt>
                <c:pt idx="236">
                  <c:v>373</c:v>
                </c:pt>
                <c:pt idx="237">
                  <c:v>378</c:v>
                </c:pt>
                <c:pt idx="238">
                  <c:v>374</c:v>
                </c:pt>
                <c:pt idx="239">
                  <c:v>369</c:v>
                </c:pt>
                <c:pt idx="240">
                  <c:v>365</c:v>
                </c:pt>
                <c:pt idx="241">
                  <c:v>362</c:v>
                </c:pt>
                <c:pt idx="242">
                  <c:v>359</c:v>
                </c:pt>
                <c:pt idx="243">
                  <c:v>358</c:v>
                </c:pt>
                <c:pt idx="244">
                  <c:v>360</c:v>
                </c:pt>
                <c:pt idx="245">
                  <c:v>349</c:v>
                </c:pt>
                <c:pt idx="246">
                  <c:v>345</c:v>
                </c:pt>
                <c:pt idx="247">
                  <c:v>346</c:v>
                </c:pt>
                <c:pt idx="248">
                  <c:v>344</c:v>
                </c:pt>
                <c:pt idx="249">
                  <c:v>339</c:v>
                </c:pt>
                <c:pt idx="250">
                  <c:v>337</c:v>
                </c:pt>
                <c:pt idx="251">
                  <c:v>338</c:v>
                </c:pt>
                <c:pt idx="252">
                  <c:v>334</c:v>
                </c:pt>
                <c:pt idx="253">
                  <c:v>330</c:v>
                </c:pt>
                <c:pt idx="254">
                  <c:v>330</c:v>
                </c:pt>
                <c:pt idx="255">
                  <c:v>330</c:v>
                </c:pt>
                <c:pt idx="256">
                  <c:v>327</c:v>
                </c:pt>
                <c:pt idx="257">
                  <c:v>327</c:v>
                </c:pt>
                <c:pt idx="258">
                  <c:v>329</c:v>
                </c:pt>
                <c:pt idx="259">
                  <c:v>330</c:v>
                </c:pt>
                <c:pt idx="260">
                  <c:v>327</c:v>
                </c:pt>
                <c:pt idx="261">
                  <c:v>328</c:v>
                </c:pt>
                <c:pt idx="262">
                  <c:v>327</c:v>
                </c:pt>
                <c:pt idx="263">
                  <c:v>324</c:v>
                </c:pt>
                <c:pt idx="264">
                  <c:v>324</c:v>
                </c:pt>
                <c:pt idx="265">
                  <c:v>326</c:v>
                </c:pt>
                <c:pt idx="266">
                  <c:v>324</c:v>
                </c:pt>
                <c:pt idx="267">
                  <c:v>321</c:v>
                </c:pt>
                <c:pt idx="268">
                  <c:v>320</c:v>
                </c:pt>
                <c:pt idx="269">
                  <c:v>318</c:v>
                </c:pt>
                <c:pt idx="270">
                  <c:v>316</c:v>
                </c:pt>
                <c:pt idx="271">
                  <c:v>316</c:v>
                </c:pt>
                <c:pt idx="272">
                  <c:v>315</c:v>
                </c:pt>
                <c:pt idx="273">
                  <c:v>312</c:v>
                </c:pt>
                <c:pt idx="274">
                  <c:v>309</c:v>
                </c:pt>
                <c:pt idx="275">
                  <c:v>308</c:v>
                </c:pt>
                <c:pt idx="276">
                  <c:v>307</c:v>
                </c:pt>
                <c:pt idx="277">
                  <c:v>307</c:v>
                </c:pt>
                <c:pt idx="278">
                  <c:v>307</c:v>
                </c:pt>
                <c:pt idx="279">
                  <c:v>306</c:v>
                </c:pt>
                <c:pt idx="280">
                  <c:v>304</c:v>
                </c:pt>
                <c:pt idx="281">
                  <c:v>302</c:v>
                </c:pt>
                <c:pt idx="282">
                  <c:v>302</c:v>
                </c:pt>
                <c:pt idx="283">
                  <c:v>302</c:v>
                </c:pt>
                <c:pt idx="284">
                  <c:v>302</c:v>
                </c:pt>
                <c:pt idx="285">
                  <c:v>302</c:v>
                </c:pt>
                <c:pt idx="286">
                  <c:v>302</c:v>
                </c:pt>
                <c:pt idx="287">
                  <c:v>302</c:v>
                </c:pt>
                <c:pt idx="288">
                  <c:v>302</c:v>
                </c:pt>
                <c:pt idx="289">
                  <c:v>301</c:v>
                </c:pt>
                <c:pt idx="290">
                  <c:v>301</c:v>
                </c:pt>
                <c:pt idx="291">
                  <c:v>301</c:v>
                </c:pt>
                <c:pt idx="292">
                  <c:v>301</c:v>
                </c:pt>
                <c:pt idx="293">
                  <c:v>301</c:v>
                </c:pt>
                <c:pt idx="294">
                  <c:v>301</c:v>
                </c:pt>
                <c:pt idx="295">
                  <c:v>301</c:v>
                </c:pt>
                <c:pt idx="296">
                  <c:v>301</c:v>
                </c:pt>
                <c:pt idx="297">
                  <c:v>300</c:v>
                </c:pt>
                <c:pt idx="298">
                  <c:v>300</c:v>
                </c:pt>
                <c:pt idx="299">
                  <c:v>300</c:v>
                </c:pt>
                <c:pt idx="300">
                  <c:v>300</c:v>
                </c:pt>
                <c:pt idx="301">
                  <c:v>300</c:v>
                </c:pt>
                <c:pt idx="302">
                  <c:v>301</c:v>
                </c:pt>
                <c:pt idx="303">
                  <c:v>301</c:v>
                </c:pt>
                <c:pt idx="304">
                  <c:v>301</c:v>
                </c:pt>
                <c:pt idx="305">
                  <c:v>301</c:v>
                </c:pt>
                <c:pt idx="306">
                  <c:v>301</c:v>
                </c:pt>
                <c:pt idx="307">
                  <c:v>301</c:v>
                </c:pt>
                <c:pt idx="308">
                  <c:v>301</c:v>
                </c:pt>
                <c:pt idx="309">
                  <c:v>301</c:v>
                </c:pt>
                <c:pt idx="310">
                  <c:v>301</c:v>
                </c:pt>
                <c:pt idx="311">
                  <c:v>301</c:v>
                </c:pt>
                <c:pt idx="312">
                  <c:v>301</c:v>
                </c:pt>
                <c:pt idx="313">
                  <c:v>302</c:v>
                </c:pt>
                <c:pt idx="314">
                  <c:v>302</c:v>
                </c:pt>
                <c:pt idx="315">
                  <c:v>302</c:v>
                </c:pt>
                <c:pt idx="316">
                  <c:v>302</c:v>
                </c:pt>
                <c:pt idx="317">
                  <c:v>302</c:v>
                </c:pt>
                <c:pt idx="318">
                  <c:v>301</c:v>
                </c:pt>
                <c:pt idx="319">
                  <c:v>301</c:v>
                </c:pt>
                <c:pt idx="320">
                  <c:v>301</c:v>
                </c:pt>
                <c:pt idx="321">
                  <c:v>301</c:v>
                </c:pt>
                <c:pt idx="322">
                  <c:v>301</c:v>
                </c:pt>
                <c:pt idx="323">
                  <c:v>302</c:v>
                </c:pt>
                <c:pt idx="324">
                  <c:v>301</c:v>
                </c:pt>
                <c:pt idx="325">
                  <c:v>301</c:v>
                </c:pt>
                <c:pt idx="326">
                  <c:v>300</c:v>
                </c:pt>
                <c:pt idx="327">
                  <c:v>300</c:v>
                </c:pt>
                <c:pt idx="328">
                  <c:v>299</c:v>
                </c:pt>
                <c:pt idx="329">
                  <c:v>300</c:v>
                </c:pt>
                <c:pt idx="330">
                  <c:v>301</c:v>
                </c:pt>
                <c:pt idx="331">
                  <c:v>301</c:v>
                </c:pt>
                <c:pt idx="332">
                  <c:v>301</c:v>
                </c:pt>
                <c:pt idx="333">
                  <c:v>301</c:v>
                </c:pt>
                <c:pt idx="334">
                  <c:v>301</c:v>
                </c:pt>
                <c:pt idx="335">
                  <c:v>301</c:v>
                </c:pt>
                <c:pt idx="336">
                  <c:v>301</c:v>
                </c:pt>
                <c:pt idx="337">
                  <c:v>301</c:v>
                </c:pt>
                <c:pt idx="338">
                  <c:v>300</c:v>
                </c:pt>
                <c:pt idx="339">
                  <c:v>300</c:v>
                </c:pt>
                <c:pt idx="340">
                  <c:v>300</c:v>
                </c:pt>
                <c:pt idx="341">
                  <c:v>301</c:v>
                </c:pt>
                <c:pt idx="342">
                  <c:v>301</c:v>
                </c:pt>
                <c:pt idx="343">
                  <c:v>300</c:v>
                </c:pt>
                <c:pt idx="344">
                  <c:v>300</c:v>
                </c:pt>
                <c:pt idx="345">
                  <c:v>300</c:v>
                </c:pt>
                <c:pt idx="346">
                  <c:v>300</c:v>
                </c:pt>
                <c:pt idx="347">
                  <c:v>300</c:v>
                </c:pt>
                <c:pt idx="348">
                  <c:v>300</c:v>
                </c:pt>
                <c:pt idx="349">
                  <c:v>300</c:v>
                </c:pt>
                <c:pt idx="350">
                  <c:v>299</c:v>
                </c:pt>
                <c:pt idx="351">
                  <c:v>299</c:v>
                </c:pt>
                <c:pt idx="352">
                  <c:v>299</c:v>
                </c:pt>
                <c:pt idx="353">
                  <c:v>299</c:v>
                </c:pt>
                <c:pt idx="354">
                  <c:v>299</c:v>
                </c:pt>
                <c:pt idx="355">
                  <c:v>299</c:v>
                </c:pt>
                <c:pt idx="356">
                  <c:v>300</c:v>
                </c:pt>
                <c:pt idx="357">
                  <c:v>300</c:v>
                </c:pt>
                <c:pt idx="358">
                  <c:v>300</c:v>
                </c:pt>
                <c:pt idx="359">
                  <c:v>300</c:v>
                </c:pt>
                <c:pt idx="360">
                  <c:v>301</c:v>
                </c:pt>
                <c:pt idx="361">
                  <c:v>301</c:v>
                </c:pt>
                <c:pt idx="362">
                  <c:v>301</c:v>
                </c:pt>
                <c:pt idx="363">
                  <c:v>301</c:v>
                </c:pt>
                <c:pt idx="364">
                  <c:v>301</c:v>
                </c:pt>
                <c:pt idx="365">
                  <c:v>304</c:v>
                </c:pt>
                <c:pt idx="366">
                  <c:v>305</c:v>
                </c:pt>
                <c:pt idx="367">
                  <c:v>306</c:v>
                </c:pt>
                <c:pt idx="368">
                  <c:v>306</c:v>
                </c:pt>
                <c:pt idx="369">
                  <c:v>306</c:v>
                </c:pt>
                <c:pt idx="370">
                  <c:v>307</c:v>
                </c:pt>
                <c:pt idx="371">
                  <c:v>308</c:v>
                </c:pt>
                <c:pt idx="372">
                  <c:v>309</c:v>
                </c:pt>
                <c:pt idx="373">
                  <c:v>310</c:v>
                </c:pt>
                <c:pt idx="374">
                  <c:v>310</c:v>
                </c:pt>
                <c:pt idx="375">
                  <c:v>309</c:v>
                </c:pt>
                <c:pt idx="376">
                  <c:v>308</c:v>
                </c:pt>
                <c:pt idx="377">
                  <c:v>308</c:v>
                </c:pt>
                <c:pt idx="378">
                  <c:v>309</c:v>
                </c:pt>
                <c:pt idx="379">
                  <c:v>308</c:v>
                </c:pt>
                <c:pt idx="380">
                  <c:v>308</c:v>
                </c:pt>
                <c:pt idx="381">
                  <c:v>307</c:v>
                </c:pt>
                <c:pt idx="382">
                  <c:v>305</c:v>
                </c:pt>
                <c:pt idx="383">
                  <c:v>305</c:v>
                </c:pt>
                <c:pt idx="384">
                  <c:v>309</c:v>
                </c:pt>
                <c:pt idx="385">
                  <c:v>312</c:v>
                </c:pt>
                <c:pt idx="386">
                  <c:v>312</c:v>
                </c:pt>
                <c:pt idx="387">
                  <c:v>312</c:v>
                </c:pt>
                <c:pt idx="388">
                  <c:v>312</c:v>
                </c:pt>
                <c:pt idx="389">
                  <c:v>313</c:v>
                </c:pt>
                <c:pt idx="390">
                  <c:v>314</c:v>
                </c:pt>
                <c:pt idx="391">
                  <c:v>318</c:v>
                </c:pt>
                <c:pt idx="392">
                  <c:v>320</c:v>
                </c:pt>
                <c:pt idx="393">
                  <c:v>325</c:v>
                </c:pt>
                <c:pt idx="394">
                  <c:v>326</c:v>
                </c:pt>
                <c:pt idx="395">
                  <c:v>327</c:v>
                </c:pt>
                <c:pt idx="396">
                  <c:v>326</c:v>
                </c:pt>
                <c:pt idx="397">
                  <c:v>325</c:v>
                </c:pt>
                <c:pt idx="398">
                  <c:v>327</c:v>
                </c:pt>
                <c:pt idx="399">
                  <c:v>329</c:v>
                </c:pt>
                <c:pt idx="400">
                  <c:v>329</c:v>
                </c:pt>
                <c:pt idx="401">
                  <c:v>330</c:v>
                </c:pt>
                <c:pt idx="402">
                  <c:v>331</c:v>
                </c:pt>
                <c:pt idx="403">
                  <c:v>332</c:v>
                </c:pt>
                <c:pt idx="404">
                  <c:v>330</c:v>
                </c:pt>
                <c:pt idx="405">
                  <c:v>332</c:v>
                </c:pt>
                <c:pt idx="406">
                  <c:v>328</c:v>
                </c:pt>
                <c:pt idx="407">
                  <c:v>328</c:v>
                </c:pt>
                <c:pt idx="408">
                  <c:v>324</c:v>
                </c:pt>
                <c:pt idx="409">
                  <c:v>329</c:v>
                </c:pt>
                <c:pt idx="410">
                  <c:v>329</c:v>
                </c:pt>
                <c:pt idx="411">
                  <c:v>330</c:v>
                </c:pt>
                <c:pt idx="412">
                  <c:v>342</c:v>
                </c:pt>
                <c:pt idx="413">
                  <c:v>346</c:v>
                </c:pt>
                <c:pt idx="414">
                  <c:v>355</c:v>
                </c:pt>
                <c:pt idx="415">
                  <c:v>357</c:v>
                </c:pt>
                <c:pt idx="416">
                  <c:v>363</c:v>
                </c:pt>
                <c:pt idx="417">
                  <c:v>359</c:v>
                </c:pt>
                <c:pt idx="418">
                  <c:v>362</c:v>
                </c:pt>
                <c:pt idx="419">
                  <c:v>380</c:v>
                </c:pt>
                <c:pt idx="420">
                  <c:v>382</c:v>
                </c:pt>
                <c:pt idx="421">
                  <c:v>396</c:v>
                </c:pt>
                <c:pt idx="422">
                  <c:v>397</c:v>
                </c:pt>
                <c:pt idx="423">
                  <c:v>402</c:v>
                </c:pt>
                <c:pt idx="424">
                  <c:v>402</c:v>
                </c:pt>
                <c:pt idx="425">
                  <c:v>403</c:v>
                </c:pt>
                <c:pt idx="426">
                  <c:v>444</c:v>
                </c:pt>
                <c:pt idx="427">
                  <c:v>454</c:v>
                </c:pt>
                <c:pt idx="428">
                  <c:v>466</c:v>
                </c:pt>
                <c:pt idx="429">
                  <c:v>479</c:v>
                </c:pt>
                <c:pt idx="430">
                  <c:v>497</c:v>
                </c:pt>
                <c:pt idx="431">
                  <c:v>504</c:v>
                </c:pt>
                <c:pt idx="432">
                  <c:v>506</c:v>
                </c:pt>
                <c:pt idx="433">
                  <c:v>553</c:v>
                </c:pt>
                <c:pt idx="434">
                  <c:v>566</c:v>
                </c:pt>
                <c:pt idx="435">
                  <c:v>576</c:v>
                </c:pt>
                <c:pt idx="436">
                  <c:v>602</c:v>
                </c:pt>
                <c:pt idx="437">
                  <c:v>631</c:v>
                </c:pt>
                <c:pt idx="438">
                  <c:v>639</c:v>
                </c:pt>
                <c:pt idx="439">
                  <c:v>645</c:v>
                </c:pt>
                <c:pt idx="440">
                  <c:v>692</c:v>
                </c:pt>
                <c:pt idx="441">
                  <c:v>689</c:v>
                </c:pt>
                <c:pt idx="442">
                  <c:v>672</c:v>
                </c:pt>
                <c:pt idx="443">
                  <c:v>689</c:v>
                </c:pt>
                <c:pt idx="444">
                  <c:v>713</c:v>
                </c:pt>
                <c:pt idx="445">
                  <c:v>699</c:v>
                </c:pt>
                <c:pt idx="446">
                  <c:v>695</c:v>
                </c:pt>
                <c:pt idx="447">
                  <c:v>754</c:v>
                </c:pt>
                <c:pt idx="448">
                  <c:v>757</c:v>
                </c:pt>
                <c:pt idx="449">
                  <c:v>764</c:v>
                </c:pt>
                <c:pt idx="450">
                  <c:v>767</c:v>
                </c:pt>
                <c:pt idx="451">
                  <c:v>774</c:v>
                </c:pt>
                <c:pt idx="452">
                  <c:v>762</c:v>
                </c:pt>
                <c:pt idx="453">
                  <c:v>751</c:v>
                </c:pt>
                <c:pt idx="454">
                  <c:v>784</c:v>
                </c:pt>
                <c:pt idx="455">
                  <c:v>765</c:v>
                </c:pt>
                <c:pt idx="456">
                  <c:v>755</c:v>
                </c:pt>
                <c:pt idx="457">
                  <c:v>770</c:v>
                </c:pt>
                <c:pt idx="458">
                  <c:v>731</c:v>
                </c:pt>
                <c:pt idx="459">
                  <c:v>696</c:v>
                </c:pt>
                <c:pt idx="460">
                  <c:v>686</c:v>
                </c:pt>
                <c:pt idx="461">
                  <c:v>720</c:v>
                </c:pt>
                <c:pt idx="462">
                  <c:v>682</c:v>
                </c:pt>
                <c:pt idx="463">
                  <c:v>661</c:v>
                </c:pt>
                <c:pt idx="464">
                  <c:v>623</c:v>
                </c:pt>
                <c:pt idx="465">
                  <c:v>603</c:v>
                </c:pt>
                <c:pt idx="466">
                  <c:v>568</c:v>
                </c:pt>
                <c:pt idx="467">
                  <c:v>561</c:v>
                </c:pt>
                <c:pt idx="468">
                  <c:v>580</c:v>
                </c:pt>
                <c:pt idx="469">
                  <c:v>549</c:v>
                </c:pt>
                <c:pt idx="470">
                  <c:v>518</c:v>
                </c:pt>
                <c:pt idx="471">
                  <c:v>494</c:v>
                </c:pt>
                <c:pt idx="472">
                  <c:v>471</c:v>
                </c:pt>
                <c:pt idx="473">
                  <c:v>425</c:v>
                </c:pt>
                <c:pt idx="474">
                  <c:v>419</c:v>
                </c:pt>
                <c:pt idx="475">
                  <c:v>431</c:v>
                </c:pt>
                <c:pt idx="476">
                  <c:v>385</c:v>
                </c:pt>
                <c:pt idx="477">
                  <c:v>352</c:v>
                </c:pt>
                <c:pt idx="478">
                  <c:v>319</c:v>
                </c:pt>
                <c:pt idx="479">
                  <c:v>305</c:v>
                </c:pt>
                <c:pt idx="480">
                  <c:v>281</c:v>
                </c:pt>
                <c:pt idx="481">
                  <c:v>272</c:v>
                </c:pt>
                <c:pt idx="482">
                  <c:v>270</c:v>
                </c:pt>
                <c:pt idx="483">
                  <c:v>253</c:v>
                </c:pt>
                <c:pt idx="484">
                  <c:v>220</c:v>
                </c:pt>
                <c:pt idx="485">
                  <c:v>207</c:v>
                </c:pt>
                <c:pt idx="486">
                  <c:v>195</c:v>
                </c:pt>
                <c:pt idx="487">
                  <c:v>175</c:v>
                </c:pt>
                <c:pt idx="488">
                  <c:v>167</c:v>
                </c:pt>
                <c:pt idx="489">
                  <c:v>173</c:v>
                </c:pt>
                <c:pt idx="490">
                  <c:v>160</c:v>
                </c:pt>
                <c:pt idx="491">
                  <c:v>153</c:v>
                </c:pt>
                <c:pt idx="492">
                  <c:v>155</c:v>
                </c:pt>
                <c:pt idx="493">
                  <c:v>154</c:v>
                </c:pt>
                <c:pt idx="494">
                  <c:v>152</c:v>
                </c:pt>
                <c:pt idx="495">
                  <c:v>150</c:v>
                </c:pt>
                <c:pt idx="496">
                  <c:v>162</c:v>
                </c:pt>
                <c:pt idx="497">
                  <c:v>153</c:v>
                </c:pt>
                <c:pt idx="498">
                  <c:v>143</c:v>
                </c:pt>
                <c:pt idx="499">
                  <c:v>144</c:v>
                </c:pt>
                <c:pt idx="500">
                  <c:v>149</c:v>
                </c:pt>
                <c:pt idx="501">
                  <c:v>153</c:v>
                </c:pt>
                <c:pt idx="502">
                  <c:v>158</c:v>
                </c:pt>
                <c:pt idx="503">
                  <c:v>184</c:v>
                </c:pt>
                <c:pt idx="504">
                  <c:v>200</c:v>
                </c:pt>
                <c:pt idx="505">
                  <c:v>236</c:v>
                </c:pt>
                <c:pt idx="506">
                  <c:v>273</c:v>
                </c:pt>
                <c:pt idx="507">
                  <c:v>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List1!$D$2:$D$509</c:f>
              <c:numCache>
                <c:formatCode>General</c:formatCode>
                <c:ptCount val="508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6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7</c:v>
                </c:pt>
                <c:pt idx="29">
                  <c:v>98</c:v>
                </c:pt>
                <c:pt idx="30">
                  <c:v>155</c:v>
                </c:pt>
                <c:pt idx="31">
                  <c:v>299</c:v>
                </c:pt>
                <c:pt idx="32">
                  <c:v>359</c:v>
                </c:pt>
                <c:pt idx="33">
                  <c:v>425</c:v>
                </c:pt>
                <c:pt idx="34">
                  <c:v>666</c:v>
                </c:pt>
                <c:pt idx="35">
                  <c:v>772</c:v>
                </c:pt>
                <c:pt idx="36">
                  <c:v>838</c:v>
                </c:pt>
                <c:pt idx="37">
                  <c:v>987</c:v>
                </c:pt>
                <c:pt idx="38">
                  <c:v>1198</c:v>
                </c:pt>
                <c:pt idx="39">
                  <c:v>1256</c:v>
                </c:pt>
                <c:pt idx="40">
                  <c:v>1237</c:v>
                </c:pt>
                <c:pt idx="41">
                  <c:v>1479</c:v>
                </c:pt>
                <c:pt idx="42">
                  <c:v>1772</c:v>
                </c:pt>
                <c:pt idx="43">
                  <c:v>2068</c:v>
                </c:pt>
                <c:pt idx="44">
                  <c:v>2409</c:v>
                </c:pt>
                <c:pt idx="45">
                  <c:v>2703</c:v>
                </c:pt>
                <c:pt idx="46">
                  <c:v>2849</c:v>
                </c:pt>
                <c:pt idx="47">
                  <c:v>2796</c:v>
                </c:pt>
                <c:pt idx="48">
                  <c:v>3106</c:v>
                </c:pt>
                <c:pt idx="49">
                  <c:v>3356</c:v>
                </c:pt>
                <c:pt idx="50">
                  <c:v>3853</c:v>
                </c:pt>
                <c:pt idx="51">
                  <c:v>4168</c:v>
                </c:pt>
                <c:pt idx="52">
                  <c:v>4715</c:v>
                </c:pt>
                <c:pt idx="53">
                  <c:v>4870</c:v>
                </c:pt>
                <c:pt idx="54">
                  <c:v>4878</c:v>
                </c:pt>
                <c:pt idx="55">
                  <c:v>5220</c:v>
                </c:pt>
                <c:pt idx="56">
                  <c:v>5722</c:v>
                </c:pt>
                <c:pt idx="57">
                  <c:v>5762</c:v>
                </c:pt>
                <c:pt idx="58">
                  <c:v>6597</c:v>
                </c:pt>
                <c:pt idx="59">
                  <c:v>7026</c:v>
                </c:pt>
                <c:pt idx="60">
                  <c:v>7030</c:v>
                </c:pt>
                <c:pt idx="61">
                  <c:v>6765</c:v>
                </c:pt>
                <c:pt idx="62">
                  <c:v>6842</c:v>
                </c:pt>
                <c:pt idx="63">
                  <c:v>6697</c:v>
                </c:pt>
                <c:pt idx="64">
                  <c:v>7098</c:v>
                </c:pt>
                <c:pt idx="65">
                  <c:v>7602</c:v>
                </c:pt>
                <c:pt idx="66">
                  <c:v>7278</c:v>
                </c:pt>
                <c:pt idx="67">
                  <c:v>6681</c:v>
                </c:pt>
                <c:pt idx="68">
                  <c:v>6500</c:v>
                </c:pt>
                <c:pt idx="69">
                  <c:v>6102</c:v>
                </c:pt>
                <c:pt idx="70">
                  <c:v>5840</c:v>
                </c:pt>
                <c:pt idx="71">
                  <c:v>6376</c:v>
                </c:pt>
                <c:pt idx="72">
                  <c:v>6879</c:v>
                </c:pt>
                <c:pt idx="73">
                  <c:v>6830</c:v>
                </c:pt>
                <c:pt idx="74">
                  <c:v>6286</c:v>
                </c:pt>
                <c:pt idx="75">
                  <c:v>5931</c:v>
                </c:pt>
                <c:pt idx="76">
                  <c:v>5903</c:v>
                </c:pt>
                <c:pt idx="77">
                  <c:v>5531</c:v>
                </c:pt>
                <c:pt idx="78">
                  <c:v>5820</c:v>
                </c:pt>
                <c:pt idx="79">
                  <c:v>6042</c:v>
                </c:pt>
                <c:pt idx="80">
                  <c:v>6045</c:v>
                </c:pt>
                <c:pt idx="81">
                  <c:v>5410</c:v>
                </c:pt>
                <c:pt idx="82">
                  <c:v>4949</c:v>
                </c:pt>
                <c:pt idx="83">
                  <c:v>5051</c:v>
                </c:pt>
                <c:pt idx="84">
                  <c:v>4706</c:v>
                </c:pt>
                <c:pt idx="85">
                  <c:v>4723</c:v>
                </c:pt>
                <c:pt idx="86">
                  <c:v>4842</c:v>
                </c:pt>
                <c:pt idx="87">
                  <c:v>4561</c:v>
                </c:pt>
                <c:pt idx="88">
                  <c:v>4491</c:v>
                </c:pt>
                <c:pt idx="89">
                  <c:v>4088</c:v>
                </c:pt>
                <c:pt idx="90">
                  <c:v>3962</c:v>
                </c:pt>
                <c:pt idx="91">
                  <c:v>3770</c:v>
                </c:pt>
                <c:pt idx="92">
                  <c:v>3847</c:v>
                </c:pt>
                <c:pt idx="93">
                  <c:v>3943</c:v>
                </c:pt>
                <c:pt idx="94">
                  <c:v>3767</c:v>
                </c:pt>
                <c:pt idx="95">
                  <c:v>3539</c:v>
                </c:pt>
                <c:pt idx="96">
                  <c:v>3314</c:v>
                </c:pt>
                <c:pt idx="97">
                  <c:v>3325</c:v>
                </c:pt>
                <c:pt idx="98">
                  <c:v>3168</c:v>
                </c:pt>
                <c:pt idx="99">
                  <c:v>3261</c:v>
                </c:pt>
                <c:pt idx="100">
                  <c:v>3357</c:v>
                </c:pt>
                <c:pt idx="101">
                  <c:v>3326</c:v>
                </c:pt>
                <c:pt idx="102">
                  <c:v>3162</c:v>
                </c:pt>
                <c:pt idx="103">
                  <c:v>3076</c:v>
                </c:pt>
                <c:pt idx="104">
                  <c:v>3120</c:v>
                </c:pt>
                <c:pt idx="105">
                  <c:v>3104</c:v>
                </c:pt>
                <c:pt idx="106">
                  <c:v>3173</c:v>
                </c:pt>
                <c:pt idx="107">
                  <c:v>3210</c:v>
                </c:pt>
                <c:pt idx="108">
                  <c:v>3213</c:v>
                </c:pt>
                <c:pt idx="109">
                  <c:v>3027</c:v>
                </c:pt>
                <c:pt idx="110">
                  <c:v>2911</c:v>
                </c:pt>
                <c:pt idx="111">
                  <c:v>3060</c:v>
                </c:pt>
                <c:pt idx="112">
                  <c:v>3118</c:v>
                </c:pt>
                <c:pt idx="113">
                  <c:v>3230</c:v>
                </c:pt>
                <c:pt idx="114">
                  <c:v>3211</c:v>
                </c:pt>
                <c:pt idx="115">
                  <c:v>3057</c:v>
                </c:pt>
                <c:pt idx="116">
                  <c:v>2988</c:v>
                </c:pt>
                <c:pt idx="117">
                  <c:v>2958</c:v>
                </c:pt>
                <c:pt idx="118">
                  <c:v>3115</c:v>
                </c:pt>
                <c:pt idx="119">
                  <c:v>3251</c:v>
                </c:pt>
                <c:pt idx="120">
                  <c:v>3425</c:v>
                </c:pt>
                <c:pt idx="121">
                  <c:v>3574</c:v>
                </c:pt>
                <c:pt idx="122">
                  <c:v>3344</c:v>
                </c:pt>
                <c:pt idx="123">
                  <c:v>3239</c:v>
                </c:pt>
                <c:pt idx="124">
                  <c:v>3007</c:v>
                </c:pt>
                <c:pt idx="125">
                  <c:v>3499</c:v>
                </c:pt>
                <c:pt idx="126">
                  <c:v>3711</c:v>
                </c:pt>
                <c:pt idx="127">
                  <c:v>3873</c:v>
                </c:pt>
                <c:pt idx="128">
                  <c:v>4076</c:v>
                </c:pt>
                <c:pt idx="129">
                  <c:v>3979</c:v>
                </c:pt>
                <c:pt idx="130">
                  <c:v>3732</c:v>
                </c:pt>
                <c:pt idx="131">
                  <c:v>3469</c:v>
                </c:pt>
                <c:pt idx="132">
                  <c:v>3755</c:v>
                </c:pt>
                <c:pt idx="133">
                  <c:v>3904</c:v>
                </c:pt>
                <c:pt idx="134">
                  <c:v>4080</c:v>
                </c:pt>
                <c:pt idx="135">
                  <c:v>4128</c:v>
                </c:pt>
                <c:pt idx="136">
                  <c:v>3901</c:v>
                </c:pt>
                <c:pt idx="137">
                  <c:v>3564</c:v>
                </c:pt>
                <c:pt idx="138">
                  <c:v>3298</c:v>
                </c:pt>
                <c:pt idx="139">
                  <c:v>3237</c:v>
                </c:pt>
                <c:pt idx="140">
                  <c:v>3073</c:v>
                </c:pt>
                <c:pt idx="141">
                  <c:v>3189</c:v>
                </c:pt>
                <c:pt idx="142">
                  <c:v>3287</c:v>
                </c:pt>
                <c:pt idx="143">
                  <c:v>3064</c:v>
                </c:pt>
                <c:pt idx="144">
                  <c:v>2921</c:v>
                </c:pt>
                <c:pt idx="145">
                  <c:v>2711</c:v>
                </c:pt>
                <c:pt idx="146">
                  <c:v>2683</c:v>
                </c:pt>
                <c:pt idx="147">
                  <c:v>2633</c:v>
                </c:pt>
                <c:pt idx="148">
                  <c:v>2713</c:v>
                </c:pt>
                <c:pt idx="149">
                  <c:v>2761</c:v>
                </c:pt>
                <c:pt idx="150">
                  <c:v>2535</c:v>
                </c:pt>
                <c:pt idx="151">
                  <c:v>2427</c:v>
                </c:pt>
                <c:pt idx="152">
                  <c:v>2212</c:v>
                </c:pt>
                <c:pt idx="153">
                  <c:v>2261</c:v>
                </c:pt>
                <c:pt idx="154">
                  <c:v>2275</c:v>
                </c:pt>
                <c:pt idx="155">
                  <c:v>2369</c:v>
                </c:pt>
                <c:pt idx="156">
                  <c:v>2420</c:v>
                </c:pt>
                <c:pt idx="157">
                  <c:v>2338</c:v>
                </c:pt>
                <c:pt idx="158">
                  <c:v>2207</c:v>
                </c:pt>
                <c:pt idx="159">
                  <c:v>2110</c:v>
                </c:pt>
                <c:pt idx="160">
                  <c:v>2148</c:v>
                </c:pt>
                <c:pt idx="161">
                  <c:v>2109</c:v>
                </c:pt>
                <c:pt idx="162">
                  <c:v>2164</c:v>
                </c:pt>
                <c:pt idx="163">
                  <c:v>2236</c:v>
                </c:pt>
                <c:pt idx="164">
                  <c:v>2164</c:v>
                </c:pt>
                <c:pt idx="165">
                  <c:v>1983</c:v>
                </c:pt>
                <c:pt idx="166">
                  <c:v>1840</c:v>
                </c:pt>
                <c:pt idx="167">
                  <c:v>1837</c:v>
                </c:pt>
                <c:pt idx="168">
                  <c:v>1743</c:v>
                </c:pt>
                <c:pt idx="169">
                  <c:v>1741</c:v>
                </c:pt>
                <c:pt idx="170">
                  <c:v>1770</c:v>
                </c:pt>
                <c:pt idx="171">
                  <c:v>1683</c:v>
                </c:pt>
                <c:pt idx="172">
                  <c:v>1582</c:v>
                </c:pt>
                <c:pt idx="173">
                  <c:v>1483</c:v>
                </c:pt>
                <c:pt idx="174">
                  <c:v>1559</c:v>
                </c:pt>
                <c:pt idx="175">
                  <c:v>1547</c:v>
                </c:pt>
                <c:pt idx="176">
                  <c:v>1572</c:v>
                </c:pt>
                <c:pt idx="177">
                  <c:v>1628</c:v>
                </c:pt>
                <c:pt idx="178">
                  <c:v>1594</c:v>
                </c:pt>
                <c:pt idx="179">
                  <c:v>1513</c:v>
                </c:pt>
                <c:pt idx="180">
                  <c:v>1459</c:v>
                </c:pt>
                <c:pt idx="181">
                  <c:v>1532</c:v>
                </c:pt>
                <c:pt idx="182">
                  <c:v>1492</c:v>
                </c:pt>
                <c:pt idx="183">
                  <c:v>1540</c:v>
                </c:pt>
                <c:pt idx="184">
                  <c:v>1560</c:v>
                </c:pt>
                <c:pt idx="185">
                  <c:v>1442</c:v>
                </c:pt>
                <c:pt idx="186">
                  <c:v>1362</c:v>
                </c:pt>
                <c:pt idx="187">
                  <c:v>1286</c:v>
                </c:pt>
                <c:pt idx="188">
                  <c:v>1301</c:v>
                </c:pt>
                <c:pt idx="189">
                  <c:v>1310</c:v>
                </c:pt>
                <c:pt idx="190">
                  <c:v>1372</c:v>
                </c:pt>
                <c:pt idx="191">
                  <c:v>1386</c:v>
                </c:pt>
                <c:pt idx="192">
                  <c:v>1423</c:v>
                </c:pt>
                <c:pt idx="193">
                  <c:v>1429</c:v>
                </c:pt>
                <c:pt idx="194">
                  <c:v>1435</c:v>
                </c:pt>
                <c:pt idx="195">
                  <c:v>1497</c:v>
                </c:pt>
                <c:pt idx="196">
                  <c:v>1394</c:v>
                </c:pt>
                <c:pt idx="197">
                  <c:v>1350</c:v>
                </c:pt>
                <c:pt idx="198">
                  <c:v>1298</c:v>
                </c:pt>
                <c:pt idx="199">
                  <c:v>1279</c:v>
                </c:pt>
                <c:pt idx="200">
                  <c:v>1226</c:v>
                </c:pt>
                <c:pt idx="201">
                  <c:v>1219</c:v>
                </c:pt>
                <c:pt idx="202">
                  <c:v>1249</c:v>
                </c:pt>
                <c:pt idx="203">
                  <c:v>1206</c:v>
                </c:pt>
                <c:pt idx="204">
                  <c:v>1145</c:v>
                </c:pt>
                <c:pt idx="205">
                  <c:v>1113</c:v>
                </c:pt>
                <c:pt idx="206">
                  <c:v>1082</c:v>
                </c:pt>
                <c:pt idx="207">
                  <c:v>1025</c:v>
                </c:pt>
                <c:pt idx="208">
                  <c:v>1016</c:v>
                </c:pt>
                <c:pt idx="209">
                  <c:v>1034</c:v>
                </c:pt>
                <c:pt idx="210">
                  <c:v>989</c:v>
                </c:pt>
                <c:pt idx="211">
                  <c:v>953</c:v>
                </c:pt>
                <c:pt idx="212">
                  <c:v>929</c:v>
                </c:pt>
                <c:pt idx="213">
                  <c:v>875</c:v>
                </c:pt>
                <c:pt idx="214">
                  <c:v>850</c:v>
                </c:pt>
                <c:pt idx="215">
                  <c:v>847</c:v>
                </c:pt>
                <c:pt idx="216">
                  <c:v>848</c:v>
                </c:pt>
                <c:pt idx="217">
                  <c:v>804</c:v>
                </c:pt>
                <c:pt idx="218">
                  <c:v>793</c:v>
                </c:pt>
                <c:pt idx="219">
                  <c:v>776</c:v>
                </c:pt>
                <c:pt idx="220">
                  <c:v>741</c:v>
                </c:pt>
                <c:pt idx="221">
                  <c:v>722</c:v>
                </c:pt>
                <c:pt idx="222">
                  <c:v>717</c:v>
                </c:pt>
                <c:pt idx="223">
                  <c:v>722</c:v>
                </c:pt>
                <c:pt idx="224">
                  <c:v>687</c:v>
                </c:pt>
                <c:pt idx="225">
                  <c:v>658</c:v>
                </c:pt>
                <c:pt idx="226">
                  <c:v>642</c:v>
                </c:pt>
                <c:pt idx="227">
                  <c:v>623</c:v>
                </c:pt>
                <c:pt idx="228">
                  <c:v>620</c:v>
                </c:pt>
                <c:pt idx="229">
                  <c:v>618</c:v>
                </c:pt>
                <c:pt idx="230">
                  <c:v>630</c:v>
                </c:pt>
                <c:pt idx="231">
                  <c:v>619</c:v>
                </c:pt>
                <c:pt idx="232">
                  <c:v>588</c:v>
                </c:pt>
                <c:pt idx="233">
                  <c:v>569</c:v>
                </c:pt>
                <c:pt idx="234">
                  <c:v>563</c:v>
                </c:pt>
                <c:pt idx="235">
                  <c:v>550</c:v>
                </c:pt>
                <c:pt idx="236">
                  <c:v>547</c:v>
                </c:pt>
                <c:pt idx="237">
                  <c:v>552</c:v>
                </c:pt>
                <c:pt idx="238">
                  <c:v>547</c:v>
                </c:pt>
                <c:pt idx="239">
                  <c:v>541</c:v>
                </c:pt>
                <c:pt idx="240">
                  <c:v>536</c:v>
                </c:pt>
                <c:pt idx="241">
                  <c:v>533</c:v>
                </c:pt>
                <c:pt idx="242">
                  <c:v>524</c:v>
                </c:pt>
                <c:pt idx="243">
                  <c:v>523</c:v>
                </c:pt>
                <c:pt idx="244">
                  <c:v>525</c:v>
                </c:pt>
                <c:pt idx="245">
                  <c:v>511</c:v>
                </c:pt>
                <c:pt idx="246">
                  <c:v>503</c:v>
                </c:pt>
                <c:pt idx="247">
                  <c:v>498</c:v>
                </c:pt>
                <c:pt idx="248">
                  <c:v>495</c:v>
                </c:pt>
                <c:pt idx="249">
                  <c:v>484</c:v>
                </c:pt>
                <c:pt idx="250">
                  <c:v>485</c:v>
                </c:pt>
                <c:pt idx="251">
                  <c:v>490</c:v>
                </c:pt>
                <c:pt idx="252">
                  <c:v>486</c:v>
                </c:pt>
                <c:pt idx="253">
                  <c:v>479</c:v>
                </c:pt>
                <c:pt idx="254">
                  <c:v>478</c:v>
                </c:pt>
                <c:pt idx="255">
                  <c:v>477</c:v>
                </c:pt>
                <c:pt idx="256">
                  <c:v>472</c:v>
                </c:pt>
                <c:pt idx="257">
                  <c:v>471</c:v>
                </c:pt>
                <c:pt idx="258">
                  <c:v>475</c:v>
                </c:pt>
                <c:pt idx="259">
                  <c:v>472</c:v>
                </c:pt>
                <c:pt idx="260">
                  <c:v>471</c:v>
                </c:pt>
                <c:pt idx="261">
                  <c:v>469</c:v>
                </c:pt>
                <c:pt idx="262">
                  <c:v>468</c:v>
                </c:pt>
                <c:pt idx="263">
                  <c:v>464</c:v>
                </c:pt>
                <c:pt idx="264">
                  <c:v>463</c:v>
                </c:pt>
                <c:pt idx="265">
                  <c:v>466</c:v>
                </c:pt>
                <c:pt idx="266">
                  <c:v>463</c:v>
                </c:pt>
                <c:pt idx="267">
                  <c:v>459</c:v>
                </c:pt>
                <c:pt idx="268">
                  <c:v>456</c:v>
                </c:pt>
                <c:pt idx="269">
                  <c:v>453</c:v>
                </c:pt>
                <c:pt idx="270">
                  <c:v>451</c:v>
                </c:pt>
                <c:pt idx="271">
                  <c:v>448</c:v>
                </c:pt>
                <c:pt idx="272">
                  <c:v>446</c:v>
                </c:pt>
                <c:pt idx="273">
                  <c:v>442</c:v>
                </c:pt>
                <c:pt idx="274">
                  <c:v>442</c:v>
                </c:pt>
                <c:pt idx="275">
                  <c:v>437</c:v>
                </c:pt>
                <c:pt idx="276">
                  <c:v>432</c:v>
                </c:pt>
                <c:pt idx="277">
                  <c:v>431</c:v>
                </c:pt>
                <c:pt idx="278">
                  <c:v>431</c:v>
                </c:pt>
                <c:pt idx="279">
                  <c:v>430</c:v>
                </c:pt>
                <c:pt idx="280">
                  <c:v>428</c:v>
                </c:pt>
                <c:pt idx="281">
                  <c:v>425</c:v>
                </c:pt>
                <c:pt idx="282">
                  <c:v>424</c:v>
                </c:pt>
                <c:pt idx="283">
                  <c:v>425</c:v>
                </c:pt>
                <c:pt idx="284">
                  <c:v>422</c:v>
                </c:pt>
                <c:pt idx="285">
                  <c:v>422</c:v>
                </c:pt>
                <c:pt idx="286">
                  <c:v>422</c:v>
                </c:pt>
                <c:pt idx="287">
                  <c:v>422</c:v>
                </c:pt>
                <c:pt idx="288">
                  <c:v>422</c:v>
                </c:pt>
                <c:pt idx="289">
                  <c:v>421</c:v>
                </c:pt>
                <c:pt idx="290">
                  <c:v>421</c:v>
                </c:pt>
                <c:pt idx="291">
                  <c:v>421</c:v>
                </c:pt>
                <c:pt idx="292">
                  <c:v>421</c:v>
                </c:pt>
                <c:pt idx="293">
                  <c:v>421</c:v>
                </c:pt>
                <c:pt idx="294">
                  <c:v>421</c:v>
                </c:pt>
                <c:pt idx="295">
                  <c:v>422</c:v>
                </c:pt>
                <c:pt idx="296">
                  <c:v>422</c:v>
                </c:pt>
                <c:pt idx="297">
                  <c:v>420</c:v>
                </c:pt>
                <c:pt idx="298">
                  <c:v>420</c:v>
                </c:pt>
                <c:pt idx="299">
                  <c:v>420</c:v>
                </c:pt>
                <c:pt idx="300">
                  <c:v>420</c:v>
                </c:pt>
                <c:pt idx="301">
                  <c:v>420</c:v>
                </c:pt>
                <c:pt idx="302">
                  <c:v>420</c:v>
                </c:pt>
                <c:pt idx="303">
                  <c:v>421</c:v>
                </c:pt>
                <c:pt idx="304">
                  <c:v>419</c:v>
                </c:pt>
                <c:pt idx="305">
                  <c:v>419</c:v>
                </c:pt>
                <c:pt idx="306">
                  <c:v>420</c:v>
                </c:pt>
                <c:pt idx="307">
                  <c:v>420</c:v>
                </c:pt>
                <c:pt idx="308">
                  <c:v>420</c:v>
                </c:pt>
                <c:pt idx="309">
                  <c:v>420</c:v>
                </c:pt>
                <c:pt idx="310">
                  <c:v>419</c:v>
                </c:pt>
                <c:pt idx="311">
                  <c:v>419</c:v>
                </c:pt>
                <c:pt idx="312">
                  <c:v>419</c:v>
                </c:pt>
                <c:pt idx="313">
                  <c:v>420</c:v>
                </c:pt>
                <c:pt idx="314">
                  <c:v>420</c:v>
                </c:pt>
                <c:pt idx="315">
                  <c:v>420</c:v>
                </c:pt>
                <c:pt idx="316">
                  <c:v>420</c:v>
                </c:pt>
                <c:pt idx="317">
                  <c:v>420</c:v>
                </c:pt>
                <c:pt idx="318">
                  <c:v>419</c:v>
                </c:pt>
                <c:pt idx="319">
                  <c:v>419</c:v>
                </c:pt>
                <c:pt idx="320">
                  <c:v>419</c:v>
                </c:pt>
                <c:pt idx="321">
                  <c:v>419</c:v>
                </c:pt>
                <c:pt idx="322">
                  <c:v>418</c:v>
                </c:pt>
                <c:pt idx="323">
                  <c:v>419</c:v>
                </c:pt>
                <c:pt idx="324">
                  <c:v>418</c:v>
                </c:pt>
                <c:pt idx="325">
                  <c:v>418</c:v>
                </c:pt>
                <c:pt idx="326">
                  <c:v>418</c:v>
                </c:pt>
                <c:pt idx="327">
                  <c:v>417</c:v>
                </c:pt>
                <c:pt idx="328">
                  <c:v>416</c:v>
                </c:pt>
                <c:pt idx="329">
                  <c:v>417</c:v>
                </c:pt>
                <c:pt idx="330">
                  <c:v>418</c:v>
                </c:pt>
                <c:pt idx="331">
                  <c:v>418</c:v>
                </c:pt>
                <c:pt idx="332">
                  <c:v>417</c:v>
                </c:pt>
                <c:pt idx="333">
                  <c:v>417</c:v>
                </c:pt>
                <c:pt idx="334">
                  <c:v>417</c:v>
                </c:pt>
                <c:pt idx="335">
                  <c:v>417</c:v>
                </c:pt>
                <c:pt idx="336">
                  <c:v>416</c:v>
                </c:pt>
                <c:pt idx="337">
                  <c:v>416</c:v>
                </c:pt>
                <c:pt idx="338">
                  <c:v>415</c:v>
                </c:pt>
                <c:pt idx="339">
                  <c:v>415</c:v>
                </c:pt>
                <c:pt idx="340">
                  <c:v>415</c:v>
                </c:pt>
                <c:pt idx="341">
                  <c:v>416</c:v>
                </c:pt>
                <c:pt idx="342">
                  <c:v>416</c:v>
                </c:pt>
                <c:pt idx="343">
                  <c:v>415</c:v>
                </c:pt>
                <c:pt idx="344">
                  <c:v>415</c:v>
                </c:pt>
                <c:pt idx="345">
                  <c:v>415</c:v>
                </c:pt>
                <c:pt idx="346">
                  <c:v>415</c:v>
                </c:pt>
                <c:pt idx="347">
                  <c:v>415</c:v>
                </c:pt>
                <c:pt idx="348">
                  <c:v>415</c:v>
                </c:pt>
                <c:pt idx="349">
                  <c:v>416</c:v>
                </c:pt>
                <c:pt idx="350">
                  <c:v>416</c:v>
                </c:pt>
                <c:pt idx="351">
                  <c:v>416</c:v>
                </c:pt>
                <c:pt idx="352">
                  <c:v>417</c:v>
                </c:pt>
                <c:pt idx="353">
                  <c:v>416</c:v>
                </c:pt>
                <c:pt idx="354">
                  <c:v>416</c:v>
                </c:pt>
                <c:pt idx="355">
                  <c:v>416</c:v>
                </c:pt>
                <c:pt idx="356">
                  <c:v>419</c:v>
                </c:pt>
                <c:pt idx="357">
                  <c:v>419</c:v>
                </c:pt>
                <c:pt idx="358">
                  <c:v>419</c:v>
                </c:pt>
                <c:pt idx="359">
                  <c:v>419</c:v>
                </c:pt>
                <c:pt idx="360">
                  <c:v>420</c:v>
                </c:pt>
                <c:pt idx="361">
                  <c:v>419</c:v>
                </c:pt>
                <c:pt idx="362">
                  <c:v>419</c:v>
                </c:pt>
                <c:pt idx="363">
                  <c:v>419</c:v>
                </c:pt>
                <c:pt idx="364">
                  <c:v>419</c:v>
                </c:pt>
                <c:pt idx="365">
                  <c:v>423</c:v>
                </c:pt>
                <c:pt idx="366">
                  <c:v>428</c:v>
                </c:pt>
                <c:pt idx="367">
                  <c:v>431</c:v>
                </c:pt>
                <c:pt idx="368">
                  <c:v>432</c:v>
                </c:pt>
                <c:pt idx="369">
                  <c:v>431</c:v>
                </c:pt>
                <c:pt idx="370">
                  <c:v>436</c:v>
                </c:pt>
                <c:pt idx="371">
                  <c:v>434</c:v>
                </c:pt>
                <c:pt idx="372">
                  <c:v>435</c:v>
                </c:pt>
                <c:pt idx="373">
                  <c:v>436</c:v>
                </c:pt>
                <c:pt idx="374">
                  <c:v>436</c:v>
                </c:pt>
                <c:pt idx="375">
                  <c:v>435</c:v>
                </c:pt>
                <c:pt idx="376">
                  <c:v>434</c:v>
                </c:pt>
                <c:pt idx="377">
                  <c:v>435</c:v>
                </c:pt>
                <c:pt idx="378">
                  <c:v>436</c:v>
                </c:pt>
                <c:pt idx="379">
                  <c:v>435</c:v>
                </c:pt>
                <c:pt idx="380">
                  <c:v>434</c:v>
                </c:pt>
                <c:pt idx="381">
                  <c:v>431</c:v>
                </c:pt>
                <c:pt idx="382">
                  <c:v>429</c:v>
                </c:pt>
                <c:pt idx="383">
                  <c:v>429</c:v>
                </c:pt>
                <c:pt idx="384">
                  <c:v>434</c:v>
                </c:pt>
                <c:pt idx="385">
                  <c:v>434</c:v>
                </c:pt>
                <c:pt idx="386">
                  <c:v>434</c:v>
                </c:pt>
                <c:pt idx="387">
                  <c:v>432</c:v>
                </c:pt>
                <c:pt idx="388">
                  <c:v>432</c:v>
                </c:pt>
                <c:pt idx="389">
                  <c:v>433</c:v>
                </c:pt>
                <c:pt idx="390">
                  <c:v>434</c:v>
                </c:pt>
                <c:pt idx="391">
                  <c:v>440</c:v>
                </c:pt>
                <c:pt idx="392">
                  <c:v>440</c:v>
                </c:pt>
                <c:pt idx="393">
                  <c:v>446</c:v>
                </c:pt>
                <c:pt idx="394">
                  <c:v>447</c:v>
                </c:pt>
                <c:pt idx="395">
                  <c:v>449</c:v>
                </c:pt>
                <c:pt idx="396">
                  <c:v>449</c:v>
                </c:pt>
                <c:pt idx="397">
                  <c:v>449</c:v>
                </c:pt>
                <c:pt idx="398">
                  <c:v>453</c:v>
                </c:pt>
                <c:pt idx="399">
                  <c:v>457</c:v>
                </c:pt>
                <c:pt idx="400">
                  <c:v>465</c:v>
                </c:pt>
                <c:pt idx="401">
                  <c:v>465</c:v>
                </c:pt>
                <c:pt idx="402">
                  <c:v>491</c:v>
                </c:pt>
                <c:pt idx="403">
                  <c:v>492</c:v>
                </c:pt>
                <c:pt idx="404">
                  <c:v>490</c:v>
                </c:pt>
                <c:pt idx="405">
                  <c:v>493</c:v>
                </c:pt>
                <c:pt idx="406">
                  <c:v>489</c:v>
                </c:pt>
                <c:pt idx="407">
                  <c:v>508</c:v>
                </c:pt>
                <c:pt idx="408">
                  <c:v>506</c:v>
                </c:pt>
                <c:pt idx="409">
                  <c:v>511</c:v>
                </c:pt>
                <c:pt idx="410">
                  <c:v>511</c:v>
                </c:pt>
                <c:pt idx="411">
                  <c:v>511</c:v>
                </c:pt>
                <c:pt idx="412">
                  <c:v>527</c:v>
                </c:pt>
                <c:pt idx="413">
                  <c:v>532</c:v>
                </c:pt>
                <c:pt idx="414">
                  <c:v>535</c:v>
                </c:pt>
                <c:pt idx="415">
                  <c:v>537</c:v>
                </c:pt>
                <c:pt idx="416">
                  <c:v>526</c:v>
                </c:pt>
                <c:pt idx="417">
                  <c:v>521</c:v>
                </c:pt>
                <c:pt idx="418">
                  <c:v>522</c:v>
                </c:pt>
                <c:pt idx="419">
                  <c:v>553</c:v>
                </c:pt>
                <c:pt idx="420">
                  <c:v>563</c:v>
                </c:pt>
                <c:pt idx="421">
                  <c:v>585</c:v>
                </c:pt>
                <c:pt idx="422">
                  <c:v>570</c:v>
                </c:pt>
                <c:pt idx="423">
                  <c:v>593</c:v>
                </c:pt>
                <c:pt idx="424">
                  <c:v>596</c:v>
                </c:pt>
                <c:pt idx="425">
                  <c:v>606</c:v>
                </c:pt>
                <c:pt idx="426">
                  <c:v>682</c:v>
                </c:pt>
                <c:pt idx="427">
                  <c:v>703</c:v>
                </c:pt>
                <c:pt idx="428">
                  <c:v>720</c:v>
                </c:pt>
                <c:pt idx="429">
                  <c:v>780</c:v>
                </c:pt>
                <c:pt idx="430">
                  <c:v>817</c:v>
                </c:pt>
                <c:pt idx="431">
                  <c:v>818</c:v>
                </c:pt>
                <c:pt idx="432">
                  <c:v>819</c:v>
                </c:pt>
                <c:pt idx="433">
                  <c:v>890</c:v>
                </c:pt>
                <c:pt idx="434">
                  <c:v>917</c:v>
                </c:pt>
                <c:pt idx="435">
                  <c:v>933</c:v>
                </c:pt>
                <c:pt idx="436">
                  <c:v>968</c:v>
                </c:pt>
                <c:pt idx="437">
                  <c:v>1009</c:v>
                </c:pt>
                <c:pt idx="438">
                  <c:v>1014</c:v>
                </c:pt>
                <c:pt idx="439">
                  <c:v>1025</c:v>
                </c:pt>
                <c:pt idx="440">
                  <c:v>1102</c:v>
                </c:pt>
                <c:pt idx="441">
                  <c:v>1101</c:v>
                </c:pt>
                <c:pt idx="442">
                  <c:v>1086</c:v>
                </c:pt>
                <c:pt idx="443">
                  <c:v>1134</c:v>
                </c:pt>
                <c:pt idx="444">
                  <c:v>1214</c:v>
                </c:pt>
                <c:pt idx="445">
                  <c:v>1203</c:v>
                </c:pt>
                <c:pt idx="446">
                  <c:v>1197</c:v>
                </c:pt>
                <c:pt idx="447">
                  <c:v>1296</c:v>
                </c:pt>
                <c:pt idx="448">
                  <c:v>1286</c:v>
                </c:pt>
                <c:pt idx="449">
                  <c:v>1301</c:v>
                </c:pt>
                <c:pt idx="450">
                  <c:v>1304</c:v>
                </c:pt>
                <c:pt idx="451">
                  <c:v>1343</c:v>
                </c:pt>
                <c:pt idx="452">
                  <c:v>1316</c:v>
                </c:pt>
                <c:pt idx="453">
                  <c:v>1306</c:v>
                </c:pt>
                <c:pt idx="454">
                  <c:v>1369</c:v>
                </c:pt>
                <c:pt idx="455">
                  <c:v>1329</c:v>
                </c:pt>
                <c:pt idx="456">
                  <c:v>1292</c:v>
                </c:pt>
                <c:pt idx="457">
                  <c:v>1308</c:v>
                </c:pt>
                <c:pt idx="458">
                  <c:v>1163</c:v>
                </c:pt>
                <c:pt idx="459">
                  <c:v>1149</c:v>
                </c:pt>
                <c:pt idx="460">
                  <c:v>1119</c:v>
                </c:pt>
                <c:pt idx="461">
                  <c:v>1171</c:v>
                </c:pt>
                <c:pt idx="462">
                  <c:v>1111</c:v>
                </c:pt>
                <c:pt idx="463">
                  <c:v>1080</c:v>
                </c:pt>
                <c:pt idx="464">
                  <c:v>1031</c:v>
                </c:pt>
                <c:pt idx="465">
                  <c:v>968</c:v>
                </c:pt>
                <c:pt idx="466">
                  <c:v>920</c:v>
                </c:pt>
                <c:pt idx="467">
                  <c:v>910</c:v>
                </c:pt>
                <c:pt idx="468">
                  <c:v>936</c:v>
                </c:pt>
                <c:pt idx="469">
                  <c:v>893</c:v>
                </c:pt>
                <c:pt idx="470">
                  <c:v>853</c:v>
                </c:pt>
                <c:pt idx="471">
                  <c:v>806</c:v>
                </c:pt>
                <c:pt idx="472">
                  <c:v>766</c:v>
                </c:pt>
                <c:pt idx="473">
                  <c:v>673</c:v>
                </c:pt>
                <c:pt idx="474">
                  <c:v>668</c:v>
                </c:pt>
                <c:pt idx="475">
                  <c:v>690</c:v>
                </c:pt>
                <c:pt idx="476">
                  <c:v>618</c:v>
                </c:pt>
                <c:pt idx="477">
                  <c:v>566</c:v>
                </c:pt>
                <c:pt idx="478">
                  <c:v>502</c:v>
                </c:pt>
                <c:pt idx="479">
                  <c:v>465</c:v>
                </c:pt>
                <c:pt idx="480">
                  <c:v>431</c:v>
                </c:pt>
                <c:pt idx="481">
                  <c:v>417</c:v>
                </c:pt>
                <c:pt idx="482">
                  <c:v>424</c:v>
                </c:pt>
                <c:pt idx="483">
                  <c:v>381</c:v>
                </c:pt>
                <c:pt idx="484">
                  <c:v>342</c:v>
                </c:pt>
                <c:pt idx="485">
                  <c:v>314</c:v>
                </c:pt>
                <c:pt idx="486">
                  <c:v>295</c:v>
                </c:pt>
                <c:pt idx="487">
                  <c:v>266</c:v>
                </c:pt>
                <c:pt idx="488">
                  <c:v>254</c:v>
                </c:pt>
                <c:pt idx="489">
                  <c:v>262</c:v>
                </c:pt>
                <c:pt idx="490">
                  <c:v>236</c:v>
                </c:pt>
                <c:pt idx="491">
                  <c:v>227</c:v>
                </c:pt>
                <c:pt idx="492">
                  <c:v>227</c:v>
                </c:pt>
                <c:pt idx="493">
                  <c:v>226</c:v>
                </c:pt>
                <c:pt idx="494">
                  <c:v>220</c:v>
                </c:pt>
                <c:pt idx="495">
                  <c:v>218</c:v>
                </c:pt>
                <c:pt idx="496">
                  <c:v>229</c:v>
                </c:pt>
                <c:pt idx="497">
                  <c:v>214</c:v>
                </c:pt>
                <c:pt idx="498">
                  <c:v>203</c:v>
                </c:pt>
                <c:pt idx="499">
                  <c:v>203</c:v>
                </c:pt>
                <c:pt idx="500">
                  <c:v>211</c:v>
                </c:pt>
                <c:pt idx="501">
                  <c:v>212</c:v>
                </c:pt>
                <c:pt idx="502">
                  <c:v>220</c:v>
                </c:pt>
                <c:pt idx="503">
                  <c:v>258</c:v>
                </c:pt>
                <c:pt idx="504">
                  <c:v>279</c:v>
                </c:pt>
                <c:pt idx="505">
                  <c:v>319</c:v>
                </c:pt>
                <c:pt idx="506">
                  <c:v>361</c:v>
                </c:pt>
                <c:pt idx="507">
                  <c:v>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5</c:v>
                </c:pt>
                <c:pt idx="51">
                  <c:v>3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6</c:v>
                </c:pt>
                <c:pt idx="58">
                  <c:v>9</c:v>
                </c:pt>
                <c:pt idx="59">
                  <c:v>17</c:v>
                </c:pt>
                <c:pt idx="60">
                  <c:v>20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29</c:v>
                </c:pt>
                <c:pt idx="65">
                  <c:v>41</c:v>
                </c:pt>
                <c:pt idx="66">
                  <c:v>47</c:v>
                </c:pt>
                <c:pt idx="67">
                  <c:v>34</c:v>
                </c:pt>
                <c:pt idx="68">
                  <c:v>54</c:v>
                </c:pt>
                <c:pt idx="69">
                  <c:v>62</c:v>
                </c:pt>
                <c:pt idx="70">
                  <c:v>79</c:v>
                </c:pt>
                <c:pt idx="71">
                  <c:v>67</c:v>
                </c:pt>
                <c:pt idx="72">
                  <c:v>85</c:v>
                </c:pt>
                <c:pt idx="73">
                  <c:v>85</c:v>
                </c:pt>
                <c:pt idx="74">
                  <c:v>101</c:v>
                </c:pt>
                <c:pt idx="75">
                  <c:v>110</c:v>
                </c:pt>
                <c:pt idx="76">
                  <c:v>113</c:v>
                </c:pt>
                <c:pt idx="77">
                  <c:v>128</c:v>
                </c:pt>
                <c:pt idx="78">
                  <c:v>110</c:v>
                </c:pt>
                <c:pt idx="79">
                  <c:v>131</c:v>
                </c:pt>
                <c:pt idx="80">
                  <c:v>140</c:v>
                </c:pt>
                <c:pt idx="81">
                  <c:v>155</c:v>
                </c:pt>
                <c:pt idx="82">
                  <c:v>182</c:v>
                </c:pt>
                <c:pt idx="83">
                  <c:v>159</c:v>
                </c:pt>
                <c:pt idx="84">
                  <c:v>198</c:v>
                </c:pt>
                <c:pt idx="85">
                  <c:v>198</c:v>
                </c:pt>
                <c:pt idx="86">
                  <c:v>178</c:v>
                </c:pt>
                <c:pt idx="87">
                  <c:v>181</c:v>
                </c:pt>
                <c:pt idx="88">
                  <c:v>153</c:v>
                </c:pt>
                <c:pt idx="89">
                  <c:v>104</c:v>
                </c:pt>
                <c:pt idx="90">
                  <c:v>91</c:v>
                </c:pt>
                <c:pt idx="91">
                  <c:v>63</c:v>
                </c:pt>
                <c:pt idx="92">
                  <c:v>59</c:v>
                </c:pt>
                <c:pt idx="93">
                  <c:v>50</c:v>
                </c:pt>
                <c:pt idx="94">
                  <c:v>28</c:v>
                </c:pt>
                <c:pt idx="95">
                  <c:v>22</c:v>
                </c:pt>
                <c:pt idx="96">
                  <c:v>9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10</c:v>
                </c:pt>
                <c:pt idx="6">
                  <c:v>3</c:v>
                </c:pt>
                <c:pt idx="7">
                  <c:v>14</c:v>
                </c:pt>
                <c:pt idx="8">
                  <c:v>12</c:v>
                </c:pt>
                <c:pt idx="9">
                  <c:v>19</c:v>
                </c:pt>
                <c:pt idx="10">
                  <c:v>18</c:v>
                </c:pt>
                <c:pt idx="11">
                  <c:v>12</c:v>
                </c:pt>
                <c:pt idx="12">
                  <c:v>29</c:v>
                </c:pt>
                <c:pt idx="13">
                  <c:v>14</c:v>
                </c:pt>
                <c:pt idx="14">
                  <c:v>22</c:v>
                </c:pt>
                <c:pt idx="15">
                  <c:v>22</c:v>
                </c:pt>
                <c:pt idx="16">
                  <c:v>33</c:v>
                </c:pt>
                <c:pt idx="17">
                  <c:v>26</c:v>
                </c:pt>
                <c:pt idx="18">
                  <c:v>24</c:v>
                </c:pt>
                <c:pt idx="19">
                  <c:v>35</c:v>
                </c:pt>
                <c:pt idx="20">
                  <c:v>45</c:v>
                </c:pt>
                <c:pt idx="21">
                  <c:v>50</c:v>
                </c:pt>
                <c:pt idx="22">
                  <c:v>57</c:v>
                </c:pt>
                <c:pt idx="23">
                  <c:v>54</c:v>
                </c:pt>
                <c:pt idx="24">
                  <c:v>73</c:v>
                </c:pt>
                <c:pt idx="25">
                  <c:v>61</c:v>
                </c:pt>
                <c:pt idx="26">
                  <c:v>70</c:v>
                </c:pt>
                <c:pt idx="27">
                  <c:v>79</c:v>
                </c:pt>
                <c:pt idx="28">
                  <c:v>76</c:v>
                </c:pt>
                <c:pt idx="29">
                  <c:v>81</c:v>
                </c:pt>
                <c:pt idx="30">
                  <c:v>94</c:v>
                </c:pt>
                <c:pt idx="31">
                  <c:v>84</c:v>
                </c:pt>
                <c:pt idx="32">
                  <c:v>80</c:v>
                </c:pt>
                <c:pt idx="33">
                  <c:v>92</c:v>
                </c:pt>
                <c:pt idx="34">
                  <c:v>120</c:v>
                </c:pt>
                <c:pt idx="35">
                  <c:v>101</c:v>
                </c:pt>
                <c:pt idx="36">
                  <c:v>125</c:v>
                </c:pt>
                <c:pt idx="37">
                  <c:v>142</c:v>
                </c:pt>
                <c:pt idx="38">
                  <c:v>125</c:v>
                </c:pt>
                <c:pt idx="39">
                  <c:v>130</c:v>
                </c:pt>
                <c:pt idx="40">
                  <c:v>149</c:v>
                </c:pt>
                <c:pt idx="41">
                  <c:v>148</c:v>
                </c:pt>
                <c:pt idx="42">
                  <c:v>148</c:v>
                </c:pt>
                <c:pt idx="43">
                  <c:v>149</c:v>
                </c:pt>
                <c:pt idx="44">
                  <c:v>130</c:v>
                </c:pt>
                <c:pt idx="45">
                  <c:v>135</c:v>
                </c:pt>
                <c:pt idx="46">
                  <c:v>138</c:v>
                </c:pt>
                <c:pt idx="47">
                  <c:v>162</c:v>
                </c:pt>
                <c:pt idx="48">
                  <c:v>124</c:v>
                </c:pt>
                <c:pt idx="49">
                  <c:v>140</c:v>
                </c:pt>
                <c:pt idx="50">
                  <c:v>162</c:v>
                </c:pt>
                <c:pt idx="51">
                  <c:v>183</c:v>
                </c:pt>
                <c:pt idx="52">
                  <c:v>169</c:v>
                </c:pt>
                <c:pt idx="53">
                  <c:v>167</c:v>
                </c:pt>
                <c:pt idx="54">
                  <c:v>144</c:v>
                </c:pt>
                <c:pt idx="55">
                  <c:v>186</c:v>
                </c:pt>
                <c:pt idx="56">
                  <c:v>205</c:v>
                </c:pt>
                <c:pt idx="57">
                  <c:v>211</c:v>
                </c:pt>
                <c:pt idx="58">
                  <c:v>220</c:v>
                </c:pt>
                <c:pt idx="59">
                  <c:v>257</c:v>
                </c:pt>
                <c:pt idx="60">
                  <c:v>299</c:v>
                </c:pt>
                <c:pt idx="61">
                  <c:v>281</c:v>
                </c:pt>
                <c:pt idx="62">
                  <c:v>308</c:v>
                </c:pt>
                <c:pt idx="63">
                  <c:v>324</c:v>
                </c:pt>
                <c:pt idx="64">
                  <c:v>346</c:v>
                </c:pt>
                <c:pt idx="65">
                  <c:v>426</c:v>
                </c:pt>
                <c:pt idx="66">
                  <c:v>434</c:v>
                </c:pt>
                <c:pt idx="67">
                  <c:v>442</c:v>
                </c:pt>
                <c:pt idx="68">
                  <c:v>539</c:v>
                </c:pt>
                <c:pt idx="69">
                  <c:v>579</c:v>
                </c:pt>
                <c:pt idx="70">
                  <c:v>609</c:v>
                </c:pt>
                <c:pt idx="71">
                  <c:v>562</c:v>
                </c:pt>
                <c:pt idx="72">
                  <c:v>714</c:v>
                </c:pt>
                <c:pt idx="73">
                  <c:v>723</c:v>
                </c:pt>
                <c:pt idx="74">
                  <c:v>760</c:v>
                </c:pt>
                <c:pt idx="75">
                  <c:v>824</c:v>
                </c:pt>
                <c:pt idx="76">
                  <c:v>877</c:v>
                </c:pt>
                <c:pt idx="77">
                  <c:v>876</c:v>
                </c:pt>
                <c:pt idx="78">
                  <c:v>904</c:v>
                </c:pt>
                <c:pt idx="79">
                  <c:v>1009</c:v>
                </c:pt>
                <c:pt idx="80">
                  <c:v>976</c:v>
                </c:pt>
                <c:pt idx="81">
                  <c:v>1125</c:v>
                </c:pt>
                <c:pt idx="82">
                  <c:v>1161</c:v>
                </c:pt>
                <c:pt idx="83">
                  <c:v>1180</c:v>
                </c:pt>
                <c:pt idx="84">
                  <c:v>1263</c:v>
                </c:pt>
                <c:pt idx="85">
                  <c:v>1194</c:v>
                </c:pt>
                <c:pt idx="86">
                  <c:v>1171</c:v>
                </c:pt>
                <c:pt idx="87">
                  <c:v>1010</c:v>
                </c:pt>
                <c:pt idx="88">
                  <c:v>896</c:v>
                </c:pt>
                <c:pt idx="89">
                  <c:v>732</c:v>
                </c:pt>
                <c:pt idx="90">
                  <c:v>523</c:v>
                </c:pt>
                <c:pt idx="91">
                  <c:v>407</c:v>
                </c:pt>
                <c:pt idx="92">
                  <c:v>311</c:v>
                </c:pt>
                <c:pt idx="93">
                  <c:v>231</c:v>
                </c:pt>
                <c:pt idx="94">
                  <c:v>149</c:v>
                </c:pt>
                <c:pt idx="95">
                  <c:v>89</c:v>
                </c:pt>
                <c:pt idx="96">
                  <c:v>44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Sheet1!$B$2:$B$509</c:f>
              <c:numCache>
                <c:formatCode>#\ ##0_ ;\-#\ ##0\ </c:formatCode>
                <c:ptCount val="508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3</c:v>
                </c:pt>
                <c:pt idx="43">
                  <c:v>181</c:v>
                </c:pt>
                <c:pt idx="44">
                  <c:v>195</c:v>
                </c:pt>
                <c:pt idx="45">
                  <c:v>205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200</c:v>
                </c:pt>
                <c:pt idx="50">
                  <c:v>326</c:v>
                </c:pt>
                <c:pt idx="51">
                  <c:v>228</c:v>
                </c:pt>
                <c:pt idx="52">
                  <c:v>417</c:v>
                </c:pt>
                <c:pt idx="53">
                  <c:v>227</c:v>
                </c:pt>
                <c:pt idx="54">
                  <c:v>195</c:v>
                </c:pt>
                <c:pt idx="55">
                  <c:v>387</c:v>
                </c:pt>
                <c:pt idx="56">
                  <c:v>523</c:v>
                </c:pt>
                <c:pt idx="57">
                  <c:v>260</c:v>
                </c:pt>
                <c:pt idx="58">
                  <c:v>539</c:v>
                </c:pt>
                <c:pt idx="59">
                  <c:v>587</c:v>
                </c:pt>
                <c:pt idx="60">
                  <c:v>337</c:v>
                </c:pt>
                <c:pt idx="61">
                  <c:v>213</c:v>
                </c:pt>
                <c:pt idx="62">
                  <c:v>332</c:v>
                </c:pt>
                <c:pt idx="63">
                  <c:v>332</c:v>
                </c:pt>
                <c:pt idx="64">
                  <c:v>424</c:v>
                </c:pt>
                <c:pt idx="65">
                  <c:v>534</c:v>
                </c:pt>
                <c:pt idx="66">
                  <c:v>488</c:v>
                </c:pt>
                <c:pt idx="67">
                  <c:v>215</c:v>
                </c:pt>
                <c:pt idx="68">
                  <c:v>78</c:v>
                </c:pt>
                <c:pt idx="69">
                  <c:v>204</c:v>
                </c:pt>
                <c:pt idx="70">
                  <c:v>385</c:v>
                </c:pt>
                <c:pt idx="71">
                  <c:v>677</c:v>
                </c:pt>
                <c:pt idx="72">
                  <c:v>498</c:v>
                </c:pt>
                <c:pt idx="73">
                  <c:v>481</c:v>
                </c:pt>
                <c:pt idx="74">
                  <c:v>180</c:v>
                </c:pt>
                <c:pt idx="75">
                  <c:v>165</c:v>
                </c:pt>
                <c:pt idx="76">
                  <c:v>383</c:v>
                </c:pt>
                <c:pt idx="77">
                  <c:v>138</c:v>
                </c:pt>
                <c:pt idx="78">
                  <c:v>266</c:v>
                </c:pt>
                <c:pt idx="79">
                  <c:v>269</c:v>
                </c:pt>
                <c:pt idx="80">
                  <c:v>240</c:v>
                </c:pt>
                <c:pt idx="81">
                  <c:v>94</c:v>
                </c:pt>
                <c:pt idx="82">
                  <c:v>91</c:v>
                </c:pt>
                <c:pt idx="83">
                  <c:v>378</c:v>
                </c:pt>
                <c:pt idx="84">
                  <c:v>199</c:v>
                </c:pt>
                <c:pt idx="85">
                  <c:v>125</c:v>
                </c:pt>
                <c:pt idx="86">
                  <c:v>195</c:v>
                </c:pt>
                <c:pt idx="87">
                  <c:v>139</c:v>
                </c:pt>
                <c:pt idx="88">
                  <c:v>78</c:v>
                </c:pt>
                <c:pt idx="89">
                  <c:v>28</c:v>
                </c:pt>
                <c:pt idx="90">
                  <c:v>213</c:v>
                </c:pt>
                <c:pt idx="91">
                  <c:v>124</c:v>
                </c:pt>
                <c:pt idx="92">
                  <c:v>132</c:v>
                </c:pt>
                <c:pt idx="93">
                  <c:v>128</c:v>
                </c:pt>
                <c:pt idx="94">
                  <c:v>142</c:v>
                </c:pt>
                <c:pt idx="95">
                  <c:v>89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1</c:v>
                </c:pt>
                <c:pt idx="100">
                  <c:v>83</c:v>
                </c:pt>
                <c:pt idx="101">
                  <c:v>230</c:v>
                </c:pt>
                <c:pt idx="102">
                  <c:v>67</c:v>
                </c:pt>
                <c:pt idx="103">
                  <c:v>50</c:v>
                </c:pt>
                <c:pt idx="104">
                  <c:v>148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23</c:v>
                </c:pt>
                <c:pt idx="109">
                  <c:v>61</c:v>
                </c:pt>
                <c:pt idx="110">
                  <c:v>21</c:v>
                </c:pt>
                <c:pt idx="111">
                  <c:v>178</c:v>
                </c:pt>
                <c:pt idx="112">
                  <c:v>176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8</c:v>
                </c:pt>
                <c:pt idx="118">
                  <c:v>165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59</c:v>
                </c:pt>
                <c:pt idx="124">
                  <c:v>42</c:v>
                </c:pt>
                <c:pt idx="125">
                  <c:v>269</c:v>
                </c:pt>
                <c:pt idx="126">
                  <c:v>153</c:v>
                </c:pt>
                <c:pt idx="127">
                  <c:v>160</c:v>
                </c:pt>
                <c:pt idx="128">
                  <c:v>232</c:v>
                </c:pt>
                <c:pt idx="129">
                  <c:v>185</c:v>
                </c:pt>
                <c:pt idx="130">
                  <c:v>61</c:v>
                </c:pt>
                <c:pt idx="131">
                  <c:v>31</c:v>
                </c:pt>
                <c:pt idx="132">
                  <c:v>239</c:v>
                </c:pt>
                <c:pt idx="133">
                  <c:v>126</c:v>
                </c:pt>
                <c:pt idx="134">
                  <c:v>175</c:v>
                </c:pt>
                <c:pt idx="135">
                  <c:v>97</c:v>
                </c:pt>
                <c:pt idx="136">
                  <c:v>86</c:v>
                </c:pt>
                <c:pt idx="137">
                  <c:v>35</c:v>
                </c:pt>
                <c:pt idx="138">
                  <c:v>45</c:v>
                </c:pt>
                <c:pt idx="139">
                  <c:v>161</c:v>
                </c:pt>
                <c:pt idx="140">
                  <c:v>79</c:v>
                </c:pt>
                <c:pt idx="141">
                  <c:v>146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5</c:v>
                </c:pt>
                <c:pt idx="146">
                  <c:v>84</c:v>
                </c:pt>
                <c:pt idx="147">
                  <c:v>41</c:v>
                </c:pt>
                <c:pt idx="148">
                  <c:v>95</c:v>
                </c:pt>
                <c:pt idx="149">
                  <c:v>67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6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3</c:v>
                </c:pt>
                <c:pt idx="159">
                  <c:v>16</c:v>
                </c:pt>
                <c:pt idx="160">
                  <c:v>65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7</c:v>
                </c:pt>
                <c:pt idx="169">
                  <c:v>30</c:v>
                </c:pt>
                <c:pt idx="170">
                  <c:v>27</c:v>
                </c:pt>
                <c:pt idx="171">
                  <c:v>27</c:v>
                </c:pt>
                <c:pt idx="172">
                  <c:v>18</c:v>
                </c:pt>
                <c:pt idx="173">
                  <c:v>5</c:v>
                </c:pt>
                <c:pt idx="174">
                  <c:v>89</c:v>
                </c:pt>
                <c:pt idx="175">
                  <c:v>36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10</c:v>
                </c:pt>
                <c:pt idx="185">
                  <c:v>23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79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9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3</c:v>
                </c:pt>
                <c:pt idx="203">
                  <c:v>30</c:v>
                </c:pt>
                <c:pt idx="204">
                  <c:v>20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1</c:v>
                </c:pt>
                <c:pt idx="211">
                  <c:v>9</c:v>
                </c:pt>
                <c:pt idx="212">
                  <c:v>9</c:v>
                </c:pt>
                <c:pt idx="213">
                  <c:v>3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4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4</c:v>
                </c:pt>
                <c:pt idx="428">
                  <c:v>16</c:v>
                </c:pt>
                <c:pt idx="429">
                  <c:v>52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29</c:v>
                </c:pt>
                <c:pt idx="434">
                  <c:v>29</c:v>
                </c:pt>
                <c:pt idx="435">
                  <c:v>15</c:v>
                </c:pt>
                <c:pt idx="436">
                  <c:v>18</c:v>
                </c:pt>
                <c:pt idx="437">
                  <c:v>17</c:v>
                </c:pt>
                <c:pt idx="438">
                  <c:v>13</c:v>
                </c:pt>
                <c:pt idx="439">
                  <c:v>14</c:v>
                </c:pt>
                <c:pt idx="440">
                  <c:v>43</c:v>
                </c:pt>
                <c:pt idx="441">
                  <c:v>32</c:v>
                </c:pt>
                <c:pt idx="442">
                  <c:v>23</c:v>
                </c:pt>
                <c:pt idx="443">
                  <c:v>55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48</c:v>
                </c:pt>
                <c:pt idx="448">
                  <c:v>23</c:v>
                </c:pt>
                <c:pt idx="449">
                  <c:v>41</c:v>
                </c:pt>
                <c:pt idx="450">
                  <c:v>29</c:v>
                </c:pt>
                <c:pt idx="451">
                  <c:v>52</c:v>
                </c:pt>
                <c:pt idx="452">
                  <c:v>5</c:v>
                </c:pt>
                <c:pt idx="453">
                  <c:v>7</c:v>
                </c:pt>
                <c:pt idx="454">
                  <c:v>42</c:v>
                </c:pt>
                <c:pt idx="455">
                  <c:v>14</c:v>
                </c:pt>
                <c:pt idx="456">
                  <c:v>30</c:v>
                </c:pt>
                <c:pt idx="457">
                  <c:v>31</c:v>
                </c:pt>
                <c:pt idx="458">
                  <c:v>13</c:v>
                </c:pt>
                <c:pt idx="459">
                  <c:v>38</c:v>
                </c:pt>
                <c:pt idx="460">
                  <c:v>6</c:v>
                </c:pt>
                <c:pt idx="461">
                  <c:v>29</c:v>
                </c:pt>
                <c:pt idx="462">
                  <c:v>23</c:v>
                </c:pt>
                <c:pt idx="463">
                  <c:v>18</c:v>
                </c:pt>
                <c:pt idx="464">
                  <c:v>31</c:v>
                </c:pt>
                <c:pt idx="465">
                  <c:v>28</c:v>
                </c:pt>
                <c:pt idx="466">
                  <c:v>6</c:v>
                </c:pt>
                <c:pt idx="467">
                  <c:v>0</c:v>
                </c:pt>
                <c:pt idx="468">
                  <c:v>16</c:v>
                </c:pt>
                <c:pt idx="469">
                  <c:v>27</c:v>
                </c:pt>
                <c:pt idx="470">
                  <c:v>15</c:v>
                </c:pt>
                <c:pt idx="471">
                  <c:v>7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4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0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6</c:v>
                </c:pt>
                <c:pt idx="484">
                  <c:v>5</c:v>
                </c:pt>
                <c:pt idx="485">
                  <c:v>2</c:v>
                </c:pt>
                <c:pt idx="486">
                  <c:v>10</c:v>
                </c:pt>
                <c:pt idx="487">
                  <c:v>2</c:v>
                </c:pt>
                <c:pt idx="488" formatCode="General">
                  <c:v>0</c:v>
                </c:pt>
                <c:pt idx="489" formatCode="General">
                  <c:v>4</c:v>
                </c:pt>
                <c:pt idx="490" formatCode="General">
                  <c:v>5</c:v>
                </c:pt>
                <c:pt idx="491" formatCode="General">
                  <c:v>6</c:v>
                </c:pt>
                <c:pt idx="492" formatCode="General">
                  <c:v>5</c:v>
                </c:pt>
                <c:pt idx="493" formatCode="General">
                  <c:v>7</c:v>
                </c:pt>
                <c:pt idx="494" formatCode="General">
                  <c:v>0</c:v>
                </c:pt>
                <c:pt idx="495" formatCode="General">
                  <c:v>2</c:v>
                </c:pt>
                <c:pt idx="496" formatCode="General">
                  <c:v>1</c:v>
                </c:pt>
                <c:pt idx="497" formatCode="General">
                  <c:v>9</c:v>
                </c:pt>
                <c:pt idx="498" formatCode="General">
                  <c:v>3</c:v>
                </c:pt>
                <c:pt idx="499" formatCode="General">
                  <c:v>4</c:v>
                </c:pt>
                <c:pt idx="500" formatCode="General">
                  <c:v>9</c:v>
                </c:pt>
                <c:pt idx="501" formatCode="General">
                  <c:v>0</c:v>
                </c:pt>
                <c:pt idx="502" formatCode="General">
                  <c:v>3</c:v>
                </c:pt>
                <c:pt idx="503" formatCode="General">
                  <c:v>13</c:v>
                </c:pt>
                <c:pt idx="504" formatCode="General">
                  <c:v>8</c:v>
                </c:pt>
                <c:pt idx="505" formatCode="General">
                  <c:v>9</c:v>
                </c:pt>
                <c:pt idx="506" formatCode="General">
                  <c:v>17</c:v>
                </c:pt>
                <c:pt idx="507" formatCode="General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Sheet1!$B$2:$B$509</c:f>
              <c:numCache>
                <c:formatCode>#\ ##0_ ;\-#\ ##0\ </c:formatCode>
                <c:ptCount val="508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4</c:v>
                </c:pt>
                <c:pt idx="29">
                  <c:v>10</c:v>
                </c:pt>
                <c:pt idx="30">
                  <c:v>30</c:v>
                </c:pt>
                <c:pt idx="31">
                  <c:v>95</c:v>
                </c:pt>
                <c:pt idx="32">
                  <c:v>31</c:v>
                </c:pt>
                <c:pt idx="33">
                  <c:v>30</c:v>
                </c:pt>
                <c:pt idx="34">
                  <c:v>91</c:v>
                </c:pt>
                <c:pt idx="35">
                  <c:v>46</c:v>
                </c:pt>
                <c:pt idx="36">
                  <c:v>43</c:v>
                </c:pt>
                <c:pt idx="37">
                  <c:v>85</c:v>
                </c:pt>
                <c:pt idx="38">
                  <c:v>87</c:v>
                </c:pt>
                <c:pt idx="39">
                  <c:v>51</c:v>
                </c:pt>
                <c:pt idx="40">
                  <c:v>25</c:v>
                </c:pt>
                <c:pt idx="41">
                  <c:v>163</c:v>
                </c:pt>
                <c:pt idx="42">
                  <c:v>156</c:v>
                </c:pt>
                <c:pt idx="43">
                  <c:v>192</c:v>
                </c:pt>
                <c:pt idx="44">
                  <c:v>202</c:v>
                </c:pt>
                <c:pt idx="45">
                  <c:v>212</c:v>
                </c:pt>
                <c:pt idx="46">
                  <c:v>107</c:v>
                </c:pt>
                <c:pt idx="47">
                  <c:v>48</c:v>
                </c:pt>
                <c:pt idx="48">
                  <c:v>194</c:v>
                </c:pt>
                <c:pt idx="49">
                  <c:v>193</c:v>
                </c:pt>
                <c:pt idx="50">
                  <c:v>260</c:v>
                </c:pt>
                <c:pt idx="51">
                  <c:v>235</c:v>
                </c:pt>
                <c:pt idx="52">
                  <c:v>335</c:v>
                </c:pt>
                <c:pt idx="53">
                  <c:v>187</c:v>
                </c:pt>
                <c:pt idx="54">
                  <c:v>90</c:v>
                </c:pt>
                <c:pt idx="55">
                  <c:v>377</c:v>
                </c:pt>
                <c:pt idx="56">
                  <c:v>399</c:v>
                </c:pt>
                <c:pt idx="57">
                  <c:v>135</c:v>
                </c:pt>
                <c:pt idx="58">
                  <c:v>472</c:v>
                </c:pt>
                <c:pt idx="59">
                  <c:v>333</c:v>
                </c:pt>
                <c:pt idx="60">
                  <c:v>184</c:v>
                </c:pt>
                <c:pt idx="61">
                  <c:v>117</c:v>
                </c:pt>
                <c:pt idx="62">
                  <c:v>299</c:v>
                </c:pt>
                <c:pt idx="63">
                  <c:v>233</c:v>
                </c:pt>
                <c:pt idx="64">
                  <c:v>333</c:v>
                </c:pt>
                <c:pt idx="65">
                  <c:v>282</c:v>
                </c:pt>
                <c:pt idx="66">
                  <c:v>242</c:v>
                </c:pt>
                <c:pt idx="67">
                  <c:v>118</c:v>
                </c:pt>
                <c:pt idx="68">
                  <c:v>50</c:v>
                </c:pt>
                <c:pt idx="69">
                  <c:v>198</c:v>
                </c:pt>
                <c:pt idx="70">
                  <c:v>205</c:v>
                </c:pt>
                <c:pt idx="71">
                  <c:v>263</c:v>
                </c:pt>
                <c:pt idx="72">
                  <c:v>232</c:v>
                </c:pt>
                <c:pt idx="73">
                  <c:v>204</c:v>
                </c:pt>
                <c:pt idx="74">
                  <c:v>73</c:v>
                </c:pt>
                <c:pt idx="75">
                  <c:v>30</c:v>
                </c:pt>
                <c:pt idx="76">
                  <c:v>182</c:v>
                </c:pt>
                <c:pt idx="77">
                  <c:v>46</c:v>
                </c:pt>
                <c:pt idx="78">
                  <c:v>163</c:v>
                </c:pt>
                <c:pt idx="79">
                  <c:v>129</c:v>
                </c:pt>
                <c:pt idx="80">
                  <c:v>121</c:v>
                </c:pt>
                <c:pt idx="81">
                  <c:v>37</c:v>
                </c:pt>
                <c:pt idx="82">
                  <c:v>17</c:v>
                </c:pt>
                <c:pt idx="83">
                  <c:v>140</c:v>
                </c:pt>
                <c:pt idx="84">
                  <c:v>108</c:v>
                </c:pt>
                <c:pt idx="85">
                  <c:v>94</c:v>
                </c:pt>
                <c:pt idx="86">
                  <c:v>57</c:v>
                </c:pt>
                <c:pt idx="87">
                  <c:v>81</c:v>
                </c:pt>
                <c:pt idx="88">
                  <c:v>23</c:v>
                </c:pt>
                <c:pt idx="89">
                  <c:v>16</c:v>
                </c:pt>
                <c:pt idx="90">
                  <c:v>105</c:v>
                </c:pt>
                <c:pt idx="91">
                  <c:v>86</c:v>
                </c:pt>
                <c:pt idx="92">
                  <c:v>66</c:v>
                </c:pt>
                <c:pt idx="93">
                  <c:v>59</c:v>
                </c:pt>
                <c:pt idx="94">
                  <c:v>90</c:v>
                </c:pt>
                <c:pt idx="95">
                  <c:v>40</c:v>
                </c:pt>
                <c:pt idx="96">
                  <c:v>26</c:v>
                </c:pt>
                <c:pt idx="97">
                  <c:v>120</c:v>
                </c:pt>
                <c:pt idx="98">
                  <c:v>76</c:v>
                </c:pt>
                <c:pt idx="99">
                  <c:v>63</c:v>
                </c:pt>
                <c:pt idx="100">
                  <c:v>59</c:v>
                </c:pt>
                <c:pt idx="101">
                  <c:v>78</c:v>
                </c:pt>
                <c:pt idx="102">
                  <c:v>21</c:v>
                </c:pt>
                <c:pt idx="103">
                  <c:v>17</c:v>
                </c:pt>
                <c:pt idx="104">
                  <c:v>131</c:v>
                </c:pt>
                <c:pt idx="105">
                  <c:v>71</c:v>
                </c:pt>
                <c:pt idx="106">
                  <c:v>96</c:v>
                </c:pt>
                <c:pt idx="107">
                  <c:v>51</c:v>
                </c:pt>
                <c:pt idx="108">
                  <c:v>84</c:v>
                </c:pt>
                <c:pt idx="109">
                  <c:v>28</c:v>
                </c:pt>
                <c:pt idx="110">
                  <c:v>28</c:v>
                </c:pt>
                <c:pt idx="111">
                  <c:v>159</c:v>
                </c:pt>
                <c:pt idx="112">
                  <c:v>111</c:v>
                </c:pt>
                <c:pt idx="113">
                  <c:v>118</c:v>
                </c:pt>
                <c:pt idx="114">
                  <c:v>28</c:v>
                </c:pt>
                <c:pt idx="115">
                  <c:v>45</c:v>
                </c:pt>
                <c:pt idx="116">
                  <c:v>49</c:v>
                </c:pt>
                <c:pt idx="117">
                  <c:v>47</c:v>
                </c:pt>
                <c:pt idx="118">
                  <c:v>192</c:v>
                </c:pt>
                <c:pt idx="119">
                  <c:v>147</c:v>
                </c:pt>
                <c:pt idx="120">
                  <c:v>112</c:v>
                </c:pt>
                <c:pt idx="121">
                  <c:v>86</c:v>
                </c:pt>
                <c:pt idx="122">
                  <c:v>29</c:v>
                </c:pt>
                <c:pt idx="123">
                  <c:v>60</c:v>
                </c:pt>
                <c:pt idx="124">
                  <c:v>35</c:v>
                </c:pt>
                <c:pt idx="125">
                  <c:v>278</c:v>
                </c:pt>
                <c:pt idx="126">
                  <c:v>146</c:v>
                </c:pt>
                <c:pt idx="127">
                  <c:v>113</c:v>
                </c:pt>
                <c:pt idx="128">
                  <c:v>100</c:v>
                </c:pt>
                <c:pt idx="129">
                  <c:v>122</c:v>
                </c:pt>
                <c:pt idx="130">
                  <c:v>49</c:v>
                </c:pt>
                <c:pt idx="131">
                  <c:v>27</c:v>
                </c:pt>
                <c:pt idx="132">
                  <c:v>231</c:v>
                </c:pt>
                <c:pt idx="133">
                  <c:v>97</c:v>
                </c:pt>
                <c:pt idx="134">
                  <c:v>109</c:v>
                </c:pt>
                <c:pt idx="135">
                  <c:v>53</c:v>
                </c:pt>
                <c:pt idx="136">
                  <c:v>65</c:v>
                </c:pt>
                <c:pt idx="137">
                  <c:v>33</c:v>
                </c:pt>
                <c:pt idx="138">
                  <c:v>26</c:v>
                </c:pt>
                <c:pt idx="139">
                  <c:v>126</c:v>
                </c:pt>
                <c:pt idx="140">
                  <c:v>75</c:v>
                </c:pt>
                <c:pt idx="141">
                  <c:v>71</c:v>
                </c:pt>
                <c:pt idx="142">
                  <c:v>60</c:v>
                </c:pt>
                <c:pt idx="143">
                  <c:v>80</c:v>
                </c:pt>
                <c:pt idx="144">
                  <c:v>27</c:v>
                </c:pt>
                <c:pt idx="145">
                  <c:v>12</c:v>
                </c:pt>
                <c:pt idx="146">
                  <c:v>89</c:v>
                </c:pt>
                <c:pt idx="147">
                  <c:v>76</c:v>
                </c:pt>
                <c:pt idx="148">
                  <c:v>60</c:v>
                </c:pt>
                <c:pt idx="149">
                  <c:v>33</c:v>
                </c:pt>
                <c:pt idx="150">
                  <c:v>46</c:v>
                </c:pt>
                <c:pt idx="151">
                  <c:v>30</c:v>
                </c:pt>
                <c:pt idx="152">
                  <c:v>9</c:v>
                </c:pt>
                <c:pt idx="153">
                  <c:v>80</c:v>
                </c:pt>
                <c:pt idx="154">
                  <c:v>70</c:v>
                </c:pt>
                <c:pt idx="155">
                  <c:v>59</c:v>
                </c:pt>
                <c:pt idx="156">
                  <c:v>43</c:v>
                </c:pt>
                <c:pt idx="157">
                  <c:v>49</c:v>
                </c:pt>
                <c:pt idx="158">
                  <c:v>11</c:v>
                </c:pt>
                <c:pt idx="159">
                  <c:v>18</c:v>
                </c:pt>
                <c:pt idx="160">
                  <c:v>71</c:v>
                </c:pt>
                <c:pt idx="161">
                  <c:v>21</c:v>
                </c:pt>
                <c:pt idx="162">
                  <c:v>34</c:v>
                </c:pt>
                <c:pt idx="163">
                  <c:v>39</c:v>
                </c:pt>
                <c:pt idx="164">
                  <c:v>40</c:v>
                </c:pt>
                <c:pt idx="165">
                  <c:v>15</c:v>
                </c:pt>
                <c:pt idx="166">
                  <c:v>10</c:v>
                </c:pt>
                <c:pt idx="167">
                  <c:v>63</c:v>
                </c:pt>
                <c:pt idx="168">
                  <c:v>33</c:v>
                </c:pt>
                <c:pt idx="169">
                  <c:v>36</c:v>
                </c:pt>
                <c:pt idx="170">
                  <c:v>29</c:v>
                </c:pt>
                <c:pt idx="171">
                  <c:v>35</c:v>
                </c:pt>
                <c:pt idx="172">
                  <c:v>6</c:v>
                </c:pt>
                <c:pt idx="173">
                  <c:v>18</c:v>
                </c:pt>
                <c:pt idx="174">
                  <c:v>75</c:v>
                </c:pt>
                <c:pt idx="175">
                  <c:v>45</c:v>
                </c:pt>
                <c:pt idx="176">
                  <c:v>34</c:v>
                </c:pt>
                <c:pt idx="177">
                  <c:v>33</c:v>
                </c:pt>
                <c:pt idx="178">
                  <c:v>39</c:v>
                </c:pt>
                <c:pt idx="179">
                  <c:v>9</c:v>
                </c:pt>
                <c:pt idx="180">
                  <c:v>9</c:v>
                </c:pt>
                <c:pt idx="181">
                  <c:v>59</c:v>
                </c:pt>
                <c:pt idx="182">
                  <c:v>40</c:v>
                </c:pt>
                <c:pt idx="183">
                  <c:v>56</c:v>
                </c:pt>
                <c:pt idx="184">
                  <c:v>40</c:v>
                </c:pt>
                <c:pt idx="185">
                  <c:v>28</c:v>
                </c:pt>
                <c:pt idx="186">
                  <c:v>14</c:v>
                </c:pt>
                <c:pt idx="187">
                  <c:v>10</c:v>
                </c:pt>
                <c:pt idx="188">
                  <c:v>62</c:v>
                </c:pt>
                <c:pt idx="189">
                  <c:v>37</c:v>
                </c:pt>
                <c:pt idx="190">
                  <c:v>30</c:v>
                </c:pt>
                <c:pt idx="191">
                  <c:v>26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8</c:v>
                </c:pt>
                <c:pt idx="196">
                  <c:v>24</c:v>
                </c:pt>
                <c:pt idx="197">
                  <c:v>24</c:v>
                </c:pt>
                <c:pt idx="198">
                  <c:v>16</c:v>
                </c:pt>
                <c:pt idx="199">
                  <c:v>21</c:v>
                </c:pt>
                <c:pt idx="200">
                  <c:v>2</c:v>
                </c:pt>
                <c:pt idx="201">
                  <c:v>4</c:v>
                </c:pt>
                <c:pt idx="202">
                  <c:v>32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9</c:v>
                </c:pt>
                <c:pt idx="210">
                  <c:v>14</c:v>
                </c:pt>
                <c:pt idx="211">
                  <c:v>13</c:v>
                </c:pt>
                <c:pt idx="212">
                  <c:v>12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5</c:v>
                </c:pt>
                <c:pt idx="217">
                  <c:v>22</c:v>
                </c:pt>
                <c:pt idx="218">
                  <c:v>16</c:v>
                </c:pt>
                <c:pt idx="219">
                  <c:v>16</c:v>
                </c:pt>
                <c:pt idx="220">
                  <c:v>8</c:v>
                </c:pt>
                <c:pt idx="221">
                  <c:v>5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4</c:v>
                </c:pt>
                <c:pt idx="232">
                  <c:v>4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8</c:v>
                </c:pt>
                <c:pt idx="238">
                  <c:v>7</c:v>
                </c:pt>
                <c:pt idx="239">
                  <c:v>2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5</c:v>
                </c:pt>
                <c:pt idx="259">
                  <c:v>4</c:v>
                </c:pt>
                <c:pt idx="260">
                  <c:v>2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0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9</c:v>
                </c:pt>
                <c:pt idx="420">
                  <c:v>5</c:v>
                </c:pt>
                <c:pt idx="421">
                  <c:v>17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5</c:v>
                </c:pt>
                <c:pt idx="428">
                  <c:v>19</c:v>
                </c:pt>
                <c:pt idx="429">
                  <c:v>24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1</c:v>
                </c:pt>
                <c:pt idx="434">
                  <c:v>25</c:v>
                </c:pt>
                <c:pt idx="435">
                  <c:v>29</c:v>
                </c:pt>
                <c:pt idx="436">
                  <c:v>36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5</c:v>
                </c:pt>
                <c:pt idx="441">
                  <c:v>34</c:v>
                </c:pt>
                <c:pt idx="442">
                  <c:v>13</c:v>
                </c:pt>
                <c:pt idx="443">
                  <c:v>42</c:v>
                </c:pt>
                <c:pt idx="444">
                  <c:v>52</c:v>
                </c:pt>
                <c:pt idx="445">
                  <c:v>11</c:v>
                </c:pt>
                <c:pt idx="446">
                  <c:v>7</c:v>
                </c:pt>
                <c:pt idx="447">
                  <c:v>68</c:v>
                </c:pt>
                <c:pt idx="448">
                  <c:v>44</c:v>
                </c:pt>
                <c:pt idx="449">
                  <c:v>45</c:v>
                </c:pt>
                <c:pt idx="450">
                  <c:v>49</c:v>
                </c:pt>
                <c:pt idx="451">
                  <c:v>48</c:v>
                </c:pt>
                <c:pt idx="452">
                  <c:v>22</c:v>
                </c:pt>
                <c:pt idx="453">
                  <c:v>8</c:v>
                </c:pt>
                <c:pt idx="454">
                  <c:v>43</c:v>
                </c:pt>
                <c:pt idx="455">
                  <c:v>48</c:v>
                </c:pt>
                <c:pt idx="456">
                  <c:v>40</c:v>
                </c:pt>
                <c:pt idx="457">
                  <c:v>32</c:v>
                </c:pt>
                <c:pt idx="458">
                  <c:v>28</c:v>
                </c:pt>
                <c:pt idx="459">
                  <c:v>21</c:v>
                </c:pt>
                <c:pt idx="460">
                  <c:v>9</c:v>
                </c:pt>
                <c:pt idx="461">
                  <c:v>48</c:v>
                </c:pt>
                <c:pt idx="462">
                  <c:v>35</c:v>
                </c:pt>
                <c:pt idx="463">
                  <c:v>34</c:v>
                </c:pt>
                <c:pt idx="464">
                  <c:v>25</c:v>
                </c:pt>
                <c:pt idx="465">
                  <c:v>18</c:v>
                </c:pt>
                <c:pt idx="466">
                  <c:v>13</c:v>
                </c:pt>
                <c:pt idx="467">
                  <c:v>7</c:v>
                </c:pt>
                <c:pt idx="468">
                  <c:v>30</c:v>
                </c:pt>
                <c:pt idx="469">
                  <c:v>36</c:v>
                </c:pt>
                <c:pt idx="470">
                  <c:v>28</c:v>
                </c:pt>
                <c:pt idx="471">
                  <c:v>17</c:v>
                </c:pt>
                <c:pt idx="472">
                  <c:v>14</c:v>
                </c:pt>
                <c:pt idx="473">
                  <c:v>8</c:v>
                </c:pt>
                <c:pt idx="474">
                  <c:v>10</c:v>
                </c:pt>
                <c:pt idx="475">
                  <c:v>25</c:v>
                </c:pt>
                <c:pt idx="476">
                  <c:v>12</c:v>
                </c:pt>
                <c:pt idx="477">
                  <c:v>8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9</c:v>
                </c:pt>
                <c:pt idx="483">
                  <c:v>17</c:v>
                </c:pt>
                <c:pt idx="484">
                  <c:v>8</c:v>
                </c:pt>
                <c:pt idx="485">
                  <c:v>9</c:v>
                </c:pt>
                <c:pt idx="486">
                  <c:v>6</c:v>
                </c:pt>
                <c:pt idx="487">
                  <c:v>0</c:v>
                </c:pt>
                <c:pt idx="488" formatCode="General">
                  <c:v>3</c:v>
                </c:pt>
                <c:pt idx="489" formatCode="General">
                  <c:v>17</c:v>
                </c:pt>
                <c:pt idx="490" formatCode="General">
                  <c:v>14</c:v>
                </c:pt>
                <c:pt idx="491" formatCode="General">
                  <c:v>6</c:v>
                </c:pt>
                <c:pt idx="492" formatCode="General">
                  <c:v>10</c:v>
                </c:pt>
                <c:pt idx="493" formatCode="General">
                  <c:v>7</c:v>
                </c:pt>
                <c:pt idx="494" formatCode="General">
                  <c:v>4</c:v>
                </c:pt>
                <c:pt idx="495" formatCode="General">
                  <c:v>3</c:v>
                </c:pt>
                <c:pt idx="496" formatCode="General">
                  <c:v>14</c:v>
                </c:pt>
                <c:pt idx="497" formatCode="General">
                  <c:v>13</c:v>
                </c:pt>
                <c:pt idx="498" formatCode="General">
                  <c:v>7</c:v>
                </c:pt>
                <c:pt idx="499" formatCode="General">
                  <c:v>19</c:v>
                </c:pt>
                <c:pt idx="500" formatCode="General">
                  <c:v>19</c:v>
                </c:pt>
                <c:pt idx="501" formatCode="General">
                  <c:v>8</c:v>
                </c:pt>
                <c:pt idx="502" formatCode="General">
                  <c:v>6</c:v>
                </c:pt>
                <c:pt idx="503" formatCode="General">
                  <c:v>32</c:v>
                </c:pt>
                <c:pt idx="504" formatCode="General">
                  <c:v>40</c:v>
                </c:pt>
                <c:pt idx="505" formatCode="General">
                  <c:v>42</c:v>
                </c:pt>
                <c:pt idx="506" formatCode="General">
                  <c:v>45</c:v>
                </c:pt>
                <c:pt idx="507" formatCode="General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Sheet1!$B$2:$B$509</c:f>
              <c:numCache>
                <c:formatCode>#\ ##0_ ;\-#\ ##0\ </c:formatCode>
                <c:ptCount val="508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4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9</c:v>
                </c:pt>
                <c:pt idx="29">
                  <c:v>38</c:v>
                </c:pt>
                <c:pt idx="30">
                  <c:v>61</c:v>
                </c:pt>
                <c:pt idx="31">
                  <c:v>157</c:v>
                </c:pt>
                <c:pt idx="32">
                  <c:v>67</c:v>
                </c:pt>
                <c:pt idx="33">
                  <c:v>84</c:v>
                </c:pt>
                <c:pt idx="34">
                  <c:v>258</c:v>
                </c:pt>
                <c:pt idx="35">
                  <c:v>128</c:v>
                </c:pt>
                <c:pt idx="36">
                  <c:v>88</c:v>
                </c:pt>
                <c:pt idx="37">
                  <c:v>163</c:v>
                </c:pt>
                <c:pt idx="38">
                  <c:v>226</c:v>
                </c:pt>
                <c:pt idx="39">
                  <c:v>81</c:v>
                </c:pt>
                <c:pt idx="40">
                  <c:v>36</c:v>
                </c:pt>
                <c:pt idx="41">
                  <c:v>301</c:v>
                </c:pt>
                <c:pt idx="42">
                  <c:v>379</c:v>
                </c:pt>
                <c:pt idx="43">
                  <c:v>373</c:v>
                </c:pt>
                <c:pt idx="44">
                  <c:v>397</c:v>
                </c:pt>
                <c:pt idx="45">
                  <c:v>417</c:v>
                </c:pt>
                <c:pt idx="46">
                  <c:v>262</c:v>
                </c:pt>
                <c:pt idx="47">
                  <c:v>89</c:v>
                </c:pt>
                <c:pt idx="48">
                  <c:v>436</c:v>
                </c:pt>
                <c:pt idx="49">
                  <c:v>393</c:v>
                </c:pt>
                <c:pt idx="50">
                  <c:v>586</c:v>
                </c:pt>
                <c:pt idx="51">
                  <c:v>463</c:v>
                </c:pt>
                <c:pt idx="52">
                  <c:v>752</c:v>
                </c:pt>
                <c:pt idx="53">
                  <c:v>414</c:v>
                </c:pt>
                <c:pt idx="54">
                  <c:v>285</c:v>
                </c:pt>
                <c:pt idx="55">
                  <c:v>764</c:v>
                </c:pt>
                <c:pt idx="56">
                  <c:v>922</c:v>
                </c:pt>
                <c:pt idx="57">
                  <c:v>395</c:v>
                </c:pt>
                <c:pt idx="58">
                  <c:v>1011</c:v>
                </c:pt>
                <c:pt idx="59">
                  <c:v>920</c:v>
                </c:pt>
                <c:pt idx="60">
                  <c:v>521</c:v>
                </c:pt>
                <c:pt idx="61">
                  <c:v>330</c:v>
                </c:pt>
                <c:pt idx="62">
                  <c:v>631</c:v>
                </c:pt>
                <c:pt idx="63">
                  <c:v>565</c:v>
                </c:pt>
                <c:pt idx="64">
                  <c:v>757</c:v>
                </c:pt>
                <c:pt idx="65">
                  <c:v>816</c:v>
                </c:pt>
                <c:pt idx="66">
                  <c:v>730</c:v>
                </c:pt>
                <c:pt idx="67">
                  <c:v>333</c:v>
                </c:pt>
                <c:pt idx="68">
                  <c:v>128</c:v>
                </c:pt>
                <c:pt idx="69">
                  <c:v>402</c:v>
                </c:pt>
                <c:pt idx="70">
                  <c:v>590</c:v>
                </c:pt>
                <c:pt idx="71">
                  <c:v>940</c:v>
                </c:pt>
                <c:pt idx="72">
                  <c:v>730</c:v>
                </c:pt>
                <c:pt idx="73">
                  <c:v>685</c:v>
                </c:pt>
                <c:pt idx="74">
                  <c:v>253</c:v>
                </c:pt>
                <c:pt idx="75">
                  <c:v>195</c:v>
                </c:pt>
                <c:pt idx="76">
                  <c:v>565</c:v>
                </c:pt>
                <c:pt idx="77">
                  <c:v>184</c:v>
                </c:pt>
                <c:pt idx="78">
                  <c:v>429</c:v>
                </c:pt>
                <c:pt idx="79">
                  <c:v>398</c:v>
                </c:pt>
                <c:pt idx="80">
                  <c:v>361</c:v>
                </c:pt>
                <c:pt idx="81">
                  <c:v>131</c:v>
                </c:pt>
                <c:pt idx="82">
                  <c:v>108</c:v>
                </c:pt>
                <c:pt idx="83">
                  <c:v>518</c:v>
                </c:pt>
                <c:pt idx="84">
                  <c:v>307</c:v>
                </c:pt>
                <c:pt idx="85">
                  <c:v>219</c:v>
                </c:pt>
                <c:pt idx="86">
                  <c:v>252</c:v>
                </c:pt>
                <c:pt idx="87">
                  <c:v>220</c:v>
                </c:pt>
                <c:pt idx="88">
                  <c:v>101</c:v>
                </c:pt>
                <c:pt idx="89">
                  <c:v>44</c:v>
                </c:pt>
                <c:pt idx="90">
                  <c:v>318</c:v>
                </c:pt>
                <c:pt idx="91">
                  <c:v>210</c:v>
                </c:pt>
                <c:pt idx="92">
                  <c:v>198</c:v>
                </c:pt>
                <c:pt idx="93">
                  <c:v>187</c:v>
                </c:pt>
                <c:pt idx="94">
                  <c:v>232</c:v>
                </c:pt>
                <c:pt idx="95">
                  <c:v>129</c:v>
                </c:pt>
                <c:pt idx="96">
                  <c:v>46</c:v>
                </c:pt>
                <c:pt idx="97">
                  <c:v>262</c:v>
                </c:pt>
                <c:pt idx="98">
                  <c:v>165</c:v>
                </c:pt>
                <c:pt idx="99">
                  <c:v>204</c:v>
                </c:pt>
                <c:pt idx="100">
                  <c:v>142</c:v>
                </c:pt>
                <c:pt idx="101">
                  <c:v>308</c:v>
                </c:pt>
                <c:pt idx="102">
                  <c:v>88</c:v>
                </c:pt>
                <c:pt idx="103">
                  <c:v>67</c:v>
                </c:pt>
                <c:pt idx="104">
                  <c:v>279</c:v>
                </c:pt>
                <c:pt idx="105">
                  <c:v>204</c:v>
                </c:pt>
                <c:pt idx="106">
                  <c:v>196</c:v>
                </c:pt>
                <c:pt idx="107">
                  <c:v>119</c:v>
                </c:pt>
                <c:pt idx="108">
                  <c:v>307</c:v>
                </c:pt>
                <c:pt idx="109">
                  <c:v>89</c:v>
                </c:pt>
                <c:pt idx="110">
                  <c:v>49</c:v>
                </c:pt>
                <c:pt idx="111">
                  <c:v>337</c:v>
                </c:pt>
                <c:pt idx="112">
                  <c:v>287</c:v>
                </c:pt>
                <c:pt idx="113">
                  <c:v>240</c:v>
                </c:pt>
                <c:pt idx="114">
                  <c:v>46</c:v>
                </c:pt>
                <c:pt idx="115">
                  <c:v>116</c:v>
                </c:pt>
                <c:pt idx="116">
                  <c:v>127</c:v>
                </c:pt>
                <c:pt idx="117">
                  <c:v>145</c:v>
                </c:pt>
                <c:pt idx="118">
                  <c:v>357</c:v>
                </c:pt>
                <c:pt idx="119">
                  <c:v>332</c:v>
                </c:pt>
                <c:pt idx="120">
                  <c:v>256</c:v>
                </c:pt>
                <c:pt idx="121">
                  <c:v>219</c:v>
                </c:pt>
                <c:pt idx="122">
                  <c:v>94</c:v>
                </c:pt>
                <c:pt idx="123">
                  <c:v>119</c:v>
                </c:pt>
                <c:pt idx="124">
                  <c:v>77</c:v>
                </c:pt>
                <c:pt idx="125">
                  <c:v>547</c:v>
                </c:pt>
                <c:pt idx="126">
                  <c:v>299</c:v>
                </c:pt>
                <c:pt idx="127">
                  <c:v>273</c:v>
                </c:pt>
                <c:pt idx="128">
                  <c:v>332</c:v>
                </c:pt>
                <c:pt idx="129">
                  <c:v>307</c:v>
                </c:pt>
                <c:pt idx="130">
                  <c:v>110</c:v>
                </c:pt>
                <c:pt idx="131">
                  <c:v>58</c:v>
                </c:pt>
                <c:pt idx="132">
                  <c:v>470</c:v>
                </c:pt>
                <c:pt idx="133">
                  <c:v>223</c:v>
                </c:pt>
                <c:pt idx="134">
                  <c:v>284</c:v>
                </c:pt>
                <c:pt idx="135">
                  <c:v>150</c:v>
                </c:pt>
                <c:pt idx="136">
                  <c:v>151</c:v>
                </c:pt>
                <c:pt idx="137">
                  <c:v>68</c:v>
                </c:pt>
                <c:pt idx="138">
                  <c:v>71</c:v>
                </c:pt>
                <c:pt idx="139">
                  <c:v>287</c:v>
                </c:pt>
                <c:pt idx="140">
                  <c:v>154</c:v>
                </c:pt>
                <c:pt idx="141">
                  <c:v>217</c:v>
                </c:pt>
                <c:pt idx="142">
                  <c:v>166</c:v>
                </c:pt>
                <c:pt idx="143">
                  <c:v>194</c:v>
                </c:pt>
                <c:pt idx="144">
                  <c:v>80</c:v>
                </c:pt>
                <c:pt idx="145">
                  <c:v>37</c:v>
                </c:pt>
                <c:pt idx="146">
                  <c:v>173</c:v>
                </c:pt>
                <c:pt idx="147">
                  <c:v>117</c:v>
                </c:pt>
                <c:pt idx="148">
                  <c:v>155</c:v>
                </c:pt>
                <c:pt idx="149">
                  <c:v>100</c:v>
                </c:pt>
                <c:pt idx="150">
                  <c:v>83</c:v>
                </c:pt>
                <c:pt idx="151">
                  <c:v>79</c:v>
                </c:pt>
                <c:pt idx="152">
                  <c:v>18</c:v>
                </c:pt>
                <c:pt idx="153">
                  <c:v>186</c:v>
                </c:pt>
                <c:pt idx="154">
                  <c:v>164</c:v>
                </c:pt>
                <c:pt idx="155">
                  <c:v>161</c:v>
                </c:pt>
                <c:pt idx="156">
                  <c:v>125</c:v>
                </c:pt>
                <c:pt idx="157">
                  <c:v>133</c:v>
                </c:pt>
                <c:pt idx="158">
                  <c:v>54</c:v>
                </c:pt>
                <c:pt idx="159">
                  <c:v>34</c:v>
                </c:pt>
                <c:pt idx="160">
                  <c:v>136</c:v>
                </c:pt>
                <c:pt idx="161">
                  <c:v>87</c:v>
                </c:pt>
                <c:pt idx="162">
                  <c:v>101</c:v>
                </c:pt>
                <c:pt idx="163">
                  <c:v>104</c:v>
                </c:pt>
                <c:pt idx="164">
                  <c:v>92</c:v>
                </c:pt>
                <c:pt idx="165">
                  <c:v>23</c:v>
                </c:pt>
                <c:pt idx="166">
                  <c:v>23</c:v>
                </c:pt>
                <c:pt idx="167">
                  <c:v>100</c:v>
                </c:pt>
                <c:pt idx="168">
                  <c:v>50</c:v>
                </c:pt>
                <c:pt idx="169">
                  <c:v>66</c:v>
                </c:pt>
                <c:pt idx="170">
                  <c:v>56</c:v>
                </c:pt>
                <c:pt idx="171">
                  <c:v>62</c:v>
                </c:pt>
                <c:pt idx="172">
                  <c:v>24</c:v>
                </c:pt>
                <c:pt idx="173">
                  <c:v>23</c:v>
                </c:pt>
                <c:pt idx="174">
                  <c:v>164</c:v>
                </c:pt>
                <c:pt idx="175">
                  <c:v>81</c:v>
                </c:pt>
                <c:pt idx="176">
                  <c:v>68</c:v>
                </c:pt>
                <c:pt idx="177">
                  <c:v>79</c:v>
                </c:pt>
                <c:pt idx="178">
                  <c:v>85</c:v>
                </c:pt>
                <c:pt idx="179">
                  <c:v>18</c:v>
                </c:pt>
                <c:pt idx="180">
                  <c:v>12</c:v>
                </c:pt>
                <c:pt idx="181">
                  <c:v>137</c:v>
                </c:pt>
                <c:pt idx="182">
                  <c:v>68</c:v>
                </c:pt>
                <c:pt idx="183">
                  <c:v>102</c:v>
                </c:pt>
                <c:pt idx="184">
                  <c:v>50</c:v>
                </c:pt>
                <c:pt idx="185">
                  <c:v>51</c:v>
                </c:pt>
                <c:pt idx="186">
                  <c:v>19</c:v>
                </c:pt>
                <c:pt idx="187">
                  <c:v>15</c:v>
                </c:pt>
                <c:pt idx="188">
                  <c:v>89</c:v>
                </c:pt>
                <c:pt idx="189">
                  <c:v>116</c:v>
                </c:pt>
                <c:pt idx="190">
                  <c:v>85</c:v>
                </c:pt>
                <c:pt idx="191">
                  <c:v>38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7</c:v>
                </c:pt>
                <c:pt idx="196">
                  <c:v>44</c:v>
                </c:pt>
                <c:pt idx="197">
                  <c:v>31</c:v>
                </c:pt>
                <c:pt idx="198">
                  <c:v>53</c:v>
                </c:pt>
                <c:pt idx="199">
                  <c:v>39</c:v>
                </c:pt>
                <c:pt idx="200">
                  <c:v>11</c:v>
                </c:pt>
                <c:pt idx="201">
                  <c:v>8</c:v>
                </c:pt>
                <c:pt idx="202">
                  <c:v>45</c:v>
                </c:pt>
                <c:pt idx="203">
                  <c:v>48</c:v>
                </c:pt>
                <c:pt idx="204">
                  <c:v>30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40</c:v>
                </c:pt>
                <c:pt idx="210">
                  <c:v>25</c:v>
                </c:pt>
                <c:pt idx="211">
                  <c:v>22</c:v>
                </c:pt>
                <c:pt idx="212">
                  <c:v>21</c:v>
                </c:pt>
                <c:pt idx="213">
                  <c:v>6</c:v>
                </c:pt>
                <c:pt idx="214">
                  <c:v>7</c:v>
                </c:pt>
                <c:pt idx="215">
                  <c:v>4</c:v>
                </c:pt>
                <c:pt idx="216">
                  <c:v>6</c:v>
                </c:pt>
                <c:pt idx="217">
                  <c:v>27</c:v>
                </c:pt>
                <c:pt idx="218">
                  <c:v>34</c:v>
                </c:pt>
                <c:pt idx="219">
                  <c:v>17</c:v>
                </c:pt>
                <c:pt idx="220">
                  <c:v>11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9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8</c:v>
                </c:pt>
                <c:pt idx="232">
                  <c:v>7</c:v>
                </c:pt>
                <c:pt idx="233">
                  <c:v>13</c:v>
                </c:pt>
                <c:pt idx="234">
                  <c:v>7</c:v>
                </c:pt>
                <c:pt idx="235">
                  <c:v>2</c:v>
                </c:pt>
                <c:pt idx="236">
                  <c:v>0</c:v>
                </c:pt>
                <c:pt idx="237">
                  <c:v>9</c:v>
                </c:pt>
                <c:pt idx="238">
                  <c:v>10</c:v>
                </c:pt>
                <c:pt idx="239">
                  <c:v>3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8</c:v>
                </c:pt>
                <c:pt idx="259">
                  <c:v>4</c:v>
                </c:pt>
                <c:pt idx="260">
                  <c:v>4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4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4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3</c:v>
                </c:pt>
                <c:pt idx="420">
                  <c:v>14</c:v>
                </c:pt>
                <c:pt idx="421">
                  <c:v>28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39</c:v>
                </c:pt>
                <c:pt idx="428">
                  <c:v>35</c:v>
                </c:pt>
                <c:pt idx="429">
                  <c:v>76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0</c:v>
                </c:pt>
                <c:pt idx="434">
                  <c:v>54</c:v>
                </c:pt>
                <c:pt idx="435">
                  <c:v>44</c:v>
                </c:pt>
                <c:pt idx="436">
                  <c:v>54</c:v>
                </c:pt>
                <c:pt idx="437">
                  <c:v>51</c:v>
                </c:pt>
                <c:pt idx="438">
                  <c:v>33</c:v>
                </c:pt>
                <c:pt idx="439">
                  <c:v>28</c:v>
                </c:pt>
                <c:pt idx="440">
                  <c:v>98</c:v>
                </c:pt>
                <c:pt idx="441">
                  <c:v>66</c:v>
                </c:pt>
                <c:pt idx="442">
                  <c:v>36</c:v>
                </c:pt>
                <c:pt idx="443">
                  <c:v>97</c:v>
                </c:pt>
                <c:pt idx="444">
                  <c:v>137</c:v>
                </c:pt>
                <c:pt idx="445">
                  <c:v>37</c:v>
                </c:pt>
                <c:pt idx="446">
                  <c:v>16</c:v>
                </c:pt>
                <c:pt idx="447">
                  <c:v>116</c:v>
                </c:pt>
                <c:pt idx="448">
                  <c:v>67</c:v>
                </c:pt>
                <c:pt idx="449">
                  <c:v>86</c:v>
                </c:pt>
                <c:pt idx="450">
                  <c:v>78</c:v>
                </c:pt>
                <c:pt idx="451">
                  <c:v>100</c:v>
                </c:pt>
                <c:pt idx="452">
                  <c:v>27</c:v>
                </c:pt>
                <c:pt idx="453">
                  <c:v>15</c:v>
                </c:pt>
                <c:pt idx="454">
                  <c:v>85</c:v>
                </c:pt>
                <c:pt idx="455">
                  <c:v>62</c:v>
                </c:pt>
                <c:pt idx="456">
                  <c:v>70</c:v>
                </c:pt>
                <c:pt idx="457">
                  <c:v>63</c:v>
                </c:pt>
                <c:pt idx="458">
                  <c:v>41</c:v>
                </c:pt>
                <c:pt idx="459">
                  <c:v>59</c:v>
                </c:pt>
                <c:pt idx="460">
                  <c:v>15</c:v>
                </c:pt>
                <c:pt idx="461">
                  <c:v>77</c:v>
                </c:pt>
                <c:pt idx="462">
                  <c:v>58</c:v>
                </c:pt>
                <c:pt idx="463">
                  <c:v>52</c:v>
                </c:pt>
                <c:pt idx="464">
                  <c:v>56</c:v>
                </c:pt>
                <c:pt idx="465">
                  <c:v>46</c:v>
                </c:pt>
                <c:pt idx="466">
                  <c:v>19</c:v>
                </c:pt>
                <c:pt idx="467">
                  <c:v>7</c:v>
                </c:pt>
                <c:pt idx="468">
                  <c:v>46</c:v>
                </c:pt>
                <c:pt idx="469">
                  <c:v>63</c:v>
                </c:pt>
                <c:pt idx="470">
                  <c:v>43</c:v>
                </c:pt>
                <c:pt idx="471">
                  <c:v>24</c:v>
                </c:pt>
                <c:pt idx="472">
                  <c:v>26</c:v>
                </c:pt>
                <c:pt idx="473">
                  <c:v>10</c:v>
                </c:pt>
                <c:pt idx="474">
                  <c:v>13</c:v>
                </c:pt>
                <c:pt idx="475" formatCode="General">
                  <c:v>39</c:v>
                </c:pt>
                <c:pt idx="476" formatCode="General">
                  <c:v>20</c:v>
                </c:pt>
                <c:pt idx="477" formatCode="General">
                  <c:v>11</c:v>
                </c:pt>
                <c:pt idx="478" formatCode="General">
                  <c:v>9</c:v>
                </c:pt>
                <c:pt idx="479" formatCode="General">
                  <c:v>7</c:v>
                </c:pt>
                <c:pt idx="480" formatCode="General">
                  <c:v>8</c:v>
                </c:pt>
                <c:pt idx="481" formatCode="General">
                  <c:v>5</c:v>
                </c:pt>
                <c:pt idx="482" formatCode="General">
                  <c:v>19</c:v>
                </c:pt>
                <c:pt idx="483" formatCode="General">
                  <c:v>23</c:v>
                </c:pt>
                <c:pt idx="484" formatCode="General">
                  <c:v>13</c:v>
                </c:pt>
                <c:pt idx="485" formatCode="General">
                  <c:v>11</c:v>
                </c:pt>
                <c:pt idx="486" formatCode="General">
                  <c:v>16</c:v>
                </c:pt>
                <c:pt idx="487" formatCode="General">
                  <c:v>2</c:v>
                </c:pt>
                <c:pt idx="488" formatCode="General">
                  <c:v>3</c:v>
                </c:pt>
                <c:pt idx="489" formatCode="General">
                  <c:v>21</c:v>
                </c:pt>
                <c:pt idx="490" formatCode="General">
                  <c:v>19</c:v>
                </c:pt>
                <c:pt idx="491" formatCode="General">
                  <c:v>12</c:v>
                </c:pt>
                <c:pt idx="492" formatCode="General">
                  <c:v>15</c:v>
                </c:pt>
                <c:pt idx="493" formatCode="General">
                  <c:v>14</c:v>
                </c:pt>
                <c:pt idx="494" formatCode="General">
                  <c:v>4</c:v>
                </c:pt>
                <c:pt idx="495" formatCode="General">
                  <c:v>5</c:v>
                </c:pt>
                <c:pt idx="496" formatCode="General">
                  <c:v>15</c:v>
                </c:pt>
                <c:pt idx="497" formatCode="General">
                  <c:v>22</c:v>
                </c:pt>
                <c:pt idx="498" formatCode="General">
                  <c:v>10</c:v>
                </c:pt>
                <c:pt idx="499" formatCode="General">
                  <c:v>23</c:v>
                </c:pt>
                <c:pt idx="500" formatCode="General">
                  <c:v>28</c:v>
                </c:pt>
                <c:pt idx="501" formatCode="General">
                  <c:v>8</c:v>
                </c:pt>
                <c:pt idx="502" formatCode="General">
                  <c:v>9</c:v>
                </c:pt>
                <c:pt idx="503" formatCode="General">
                  <c:v>45</c:v>
                </c:pt>
                <c:pt idx="504" formatCode="General">
                  <c:v>48</c:v>
                </c:pt>
                <c:pt idx="505" formatCode="General">
                  <c:v>51</c:v>
                </c:pt>
                <c:pt idx="506" formatCode="General">
                  <c:v>62</c:v>
                </c:pt>
                <c:pt idx="507" formatCode="General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V$1</c:f>
              <c:strCache>
                <c:ptCount val="21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</c:strCache>
            </c:strRef>
          </c:cat>
          <c:val>
            <c:numRef>
              <c:f>List1!$B$2:$V$2</c:f>
              <c:numCache>
                <c:formatCode>General</c:formatCode>
                <c:ptCount val="21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82623140077088E-2"/>
          <c:y val="2.8705141534522347E-2"/>
          <c:w val="0.91850364350728908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09</c:f>
              <c:numCache>
                <c:formatCode>m/d/yyyy</c:formatCode>
                <c:ptCount val="50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</c:numCache>
            </c:numRef>
          </c:cat>
          <c:val>
            <c:numRef>
              <c:f>Sheet1!$B$2:$B$509</c:f>
              <c:numCache>
                <c:formatCode>#\ ##0_ ;\-#\ ##0\ </c:formatCode>
                <c:ptCount val="50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1</c:v>
                </c:pt>
                <c:pt idx="57">
                  <c:v>27</c:v>
                </c:pt>
                <c:pt idx="58">
                  <c:v>46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19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20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3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5</c:v>
                </c:pt>
                <c:pt idx="457">
                  <c:v>0</c:v>
                </c:pt>
                <c:pt idx="458">
                  <c:v>0</c:v>
                </c:pt>
                <c:pt idx="459">
                  <c:v>1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 formatCode="General">
                  <c:v>0</c:v>
                </c:pt>
                <c:pt idx="489" formatCode="General">
                  <c:v>0</c:v>
                </c:pt>
                <c:pt idx="490" formatCode="General">
                  <c:v>3</c:v>
                </c:pt>
                <c:pt idx="491" formatCode="General">
                  <c:v>0</c:v>
                </c:pt>
                <c:pt idx="492" formatCode="General">
                  <c:v>3</c:v>
                </c:pt>
                <c:pt idx="493" formatCode="General">
                  <c:v>1</c:v>
                </c:pt>
                <c:pt idx="494" formatCode="General">
                  <c:v>0</c:v>
                </c:pt>
                <c:pt idx="495" formatCode="General">
                  <c:v>1</c:v>
                </c:pt>
                <c:pt idx="496" formatCode="General">
                  <c:v>0</c:v>
                </c:pt>
                <c:pt idx="497" formatCode="General">
                  <c:v>1</c:v>
                </c:pt>
                <c:pt idx="498" formatCode="General">
                  <c:v>1</c:v>
                </c:pt>
                <c:pt idx="499" formatCode="General">
                  <c:v>0</c:v>
                </c:pt>
                <c:pt idx="500" formatCode="General">
                  <c:v>1</c:v>
                </c:pt>
                <c:pt idx="501" formatCode="General">
                  <c:v>0</c:v>
                </c:pt>
                <c:pt idx="502" formatCode="General">
                  <c:v>1</c:v>
                </c:pt>
                <c:pt idx="503" formatCode="General">
                  <c:v>0</c:v>
                </c:pt>
                <c:pt idx="504" formatCode="General">
                  <c:v>0</c:v>
                </c:pt>
                <c:pt idx="505" formatCode="General">
                  <c:v>0</c:v>
                </c:pt>
                <c:pt idx="506" formatCode="General">
                  <c:v>3</c:v>
                </c:pt>
                <c:pt idx="507" formatCode="General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17</c:f>
              <c:numCache>
                <c:formatCode>m/d/yyyy</c:formatCode>
                <c:ptCount val="416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9</c:v>
                </c:pt>
                <c:pt idx="260">
                  <c:v>44350</c:v>
                </c:pt>
                <c:pt idx="261">
                  <c:v>44358</c:v>
                </c:pt>
                <c:pt idx="262">
                  <c:v>44364</c:v>
                </c:pt>
                <c:pt idx="263">
                  <c:v>44370</c:v>
                </c:pt>
                <c:pt idx="264">
                  <c:v>44371</c:v>
                </c:pt>
                <c:pt idx="265">
                  <c:v>44377</c:v>
                </c:pt>
                <c:pt idx="266">
                  <c:v>44378</c:v>
                </c:pt>
                <c:pt idx="267">
                  <c:v>44381</c:v>
                </c:pt>
                <c:pt idx="268">
                  <c:v>44385</c:v>
                </c:pt>
                <c:pt idx="269">
                  <c:v>44388</c:v>
                </c:pt>
                <c:pt idx="270">
                  <c:v>44398</c:v>
                </c:pt>
                <c:pt idx="271">
                  <c:v>44401</c:v>
                </c:pt>
                <c:pt idx="272">
                  <c:v>44404</c:v>
                </c:pt>
                <c:pt idx="273">
                  <c:v>44405</c:v>
                </c:pt>
                <c:pt idx="274">
                  <c:v>44416</c:v>
                </c:pt>
                <c:pt idx="275">
                  <c:v>44419</c:v>
                </c:pt>
                <c:pt idx="276">
                  <c:v>44424</c:v>
                </c:pt>
                <c:pt idx="277">
                  <c:v>44425</c:v>
                </c:pt>
                <c:pt idx="278">
                  <c:v>44427</c:v>
                </c:pt>
                <c:pt idx="279">
                  <c:v>44431</c:v>
                </c:pt>
                <c:pt idx="280">
                  <c:v>44434</c:v>
                </c:pt>
                <c:pt idx="281">
                  <c:v>44435</c:v>
                </c:pt>
                <c:pt idx="282">
                  <c:v>44436</c:v>
                </c:pt>
                <c:pt idx="283">
                  <c:v>44440</c:v>
                </c:pt>
                <c:pt idx="284">
                  <c:v>44441</c:v>
                </c:pt>
                <c:pt idx="285">
                  <c:v>44442</c:v>
                </c:pt>
                <c:pt idx="286">
                  <c:v>44443</c:v>
                </c:pt>
                <c:pt idx="287">
                  <c:v>44445</c:v>
                </c:pt>
                <c:pt idx="288">
                  <c:v>44446</c:v>
                </c:pt>
                <c:pt idx="289">
                  <c:v>44447</c:v>
                </c:pt>
                <c:pt idx="290">
                  <c:v>44448</c:v>
                </c:pt>
                <c:pt idx="291">
                  <c:v>44451</c:v>
                </c:pt>
                <c:pt idx="292">
                  <c:v>44452</c:v>
                </c:pt>
                <c:pt idx="293">
                  <c:v>44453</c:v>
                </c:pt>
                <c:pt idx="294">
                  <c:v>44457</c:v>
                </c:pt>
                <c:pt idx="295">
                  <c:v>44459</c:v>
                </c:pt>
                <c:pt idx="296">
                  <c:v>44460</c:v>
                </c:pt>
                <c:pt idx="297">
                  <c:v>44461</c:v>
                </c:pt>
                <c:pt idx="298">
                  <c:v>44464</c:v>
                </c:pt>
                <c:pt idx="299">
                  <c:v>44465</c:v>
                </c:pt>
                <c:pt idx="300">
                  <c:v>44466</c:v>
                </c:pt>
                <c:pt idx="301">
                  <c:v>44467</c:v>
                </c:pt>
                <c:pt idx="302">
                  <c:v>44468</c:v>
                </c:pt>
                <c:pt idx="303">
                  <c:v>44469</c:v>
                </c:pt>
                <c:pt idx="304">
                  <c:v>44470</c:v>
                </c:pt>
                <c:pt idx="305">
                  <c:v>44471</c:v>
                </c:pt>
                <c:pt idx="306">
                  <c:v>44472</c:v>
                </c:pt>
                <c:pt idx="307">
                  <c:v>44473</c:v>
                </c:pt>
                <c:pt idx="308">
                  <c:v>44474</c:v>
                </c:pt>
                <c:pt idx="309">
                  <c:v>44475</c:v>
                </c:pt>
                <c:pt idx="310">
                  <c:v>44476</c:v>
                </c:pt>
                <c:pt idx="311">
                  <c:v>44477</c:v>
                </c:pt>
                <c:pt idx="312">
                  <c:v>44478</c:v>
                </c:pt>
                <c:pt idx="313">
                  <c:v>44480</c:v>
                </c:pt>
                <c:pt idx="314">
                  <c:v>44481</c:v>
                </c:pt>
                <c:pt idx="315">
                  <c:v>44482</c:v>
                </c:pt>
                <c:pt idx="316">
                  <c:v>44483</c:v>
                </c:pt>
                <c:pt idx="317">
                  <c:v>44484</c:v>
                </c:pt>
                <c:pt idx="318">
                  <c:v>44485</c:v>
                </c:pt>
                <c:pt idx="319">
                  <c:v>44486</c:v>
                </c:pt>
                <c:pt idx="320">
                  <c:v>44487</c:v>
                </c:pt>
                <c:pt idx="321">
                  <c:v>44488</c:v>
                </c:pt>
                <c:pt idx="322">
                  <c:v>44489</c:v>
                </c:pt>
                <c:pt idx="323">
                  <c:v>44490</c:v>
                </c:pt>
                <c:pt idx="324">
                  <c:v>44491</c:v>
                </c:pt>
                <c:pt idx="325">
                  <c:v>44492</c:v>
                </c:pt>
                <c:pt idx="326">
                  <c:v>44493</c:v>
                </c:pt>
                <c:pt idx="327">
                  <c:v>44494</c:v>
                </c:pt>
                <c:pt idx="328">
                  <c:v>44495</c:v>
                </c:pt>
                <c:pt idx="329">
                  <c:v>44496</c:v>
                </c:pt>
                <c:pt idx="330">
                  <c:v>44497</c:v>
                </c:pt>
                <c:pt idx="331">
                  <c:v>44498</c:v>
                </c:pt>
                <c:pt idx="332">
                  <c:v>44499</c:v>
                </c:pt>
                <c:pt idx="333">
                  <c:v>44500</c:v>
                </c:pt>
                <c:pt idx="334">
                  <c:v>44501</c:v>
                </c:pt>
                <c:pt idx="335">
                  <c:v>44502</c:v>
                </c:pt>
                <c:pt idx="336">
                  <c:v>44503</c:v>
                </c:pt>
                <c:pt idx="337">
                  <c:v>44504</c:v>
                </c:pt>
                <c:pt idx="338">
                  <c:v>44505</c:v>
                </c:pt>
                <c:pt idx="339">
                  <c:v>44506</c:v>
                </c:pt>
                <c:pt idx="340">
                  <c:v>44507</c:v>
                </c:pt>
                <c:pt idx="341">
                  <c:v>44508</c:v>
                </c:pt>
                <c:pt idx="342">
                  <c:v>44509</c:v>
                </c:pt>
                <c:pt idx="343">
                  <c:v>44510</c:v>
                </c:pt>
                <c:pt idx="344">
                  <c:v>44511</c:v>
                </c:pt>
                <c:pt idx="345">
                  <c:v>44512</c:v>
                </c:pt>
                <c:pt idx="346">
                  <c:v>44513</c:v>
                </c:pt>
                <c:pt idx="347">
                  <c:v>44514</c:v>
                </c:pt>
                <c:pt idx="348">
                  <c:v>44515</c:v>
                </c:pt>
                <c:pt idx="349">
                  <c:v>44516</c:v>
                </c:pt>
                <c:pt idx="350">
                  <c:v>44517</c:v>
                </c:pt>
                <c:pt idx="351">
                  <c:v>44518</c:v>
                </c:pt>
                <c:pt idx="352">
                  <c:v>44519</c:v>
                </c:pt>
                <c:pt idx="353">
                  <c:v>44520</c:v>
                </c:pt>
                <c:pt idx="354">
                  <c:v>44521</c:v>
                </c:pt>
                <c:pt idx="355">
                  <c:v>44522</c:v>
                </c:pt>
                <c:pt idx="356">
                  <c:v>44523</c:v>
                </c:pt>
                <c:pt idx="357">
                  <c:v>44524</c:v>
                </c:pt>
                <c:pt idx="358">
                  <c:v>44525</c:v>
                </c:pt>
                <c:pt idx="359">
                  <c:v>44526</c:v>
                </c:pt>
                <c:pt idx="360">
                  <c:v>44527</c:v>
                </c:pt>
                <c:pt idx="361">
                  <c:v>44528</c:v>
                </c:pt>
                <c:pt idx="362">
                  <c:v>44529</c:v>
                </c:pt>
                <c:pt idx="363">
                  <c:v>44530</c:v>
                </c:pt>
                <c:pt idx="364">
                  <c:v>44531</c:v>
                </c:pt>
                <c:pt idx="365">
                  <c:v>44532</c:v>
                </c:pt>
                <c:pt idx="366">
                  <c:v>44533</c:v>
                </c:pt>
                <c:pt idx="367">
                  <c:v>44534</c:v>
                </c:pt>
                <c:pt idx="368">
                  <c:v>44535</c:v>
                </c:pt>
                <c:pt idx="369">
                  <c:v>44536</c:v>
                </c:pt>
                <c:pt idx="370">
                  <c:v>44537</c:v>
                </c:pt>
                <c:pt idx="371">
                  <c:v>44538</c:v>
                </c:pt>
                <c:pt idx="372">
                  <c:v>44539</c:v>
                </c:pt>
                <c:pt idx="373">
                  <c:v>44540</c:v>
                </c:pt>
                <c:pt idx="374">
                  <c:v>44541</c:v>
                </c:pt>
                <c:pt idx="375">
                  <c:v>44542</c:v>
                </c:pt>
                <c:pt idx="376">
                  <c:v>44543</c:v>
                </c:pt>
                <c:pt idx="377">
                  <c:v>44544</c:v>
                </c:pt>
                <c:pt idx="378">
                  <c:v>44545</c:v>
                </c:pt>
                <c:pt idx="379">
                  <c:v>44546</c:v>
                </c:pt>
                <c:pt idx="380">
                  <c:v>44547</c:v>
                </c:pt>
                <c:pt idx="381">
                  <c:v>44548</c:v>
                </c:pt>
                <c:pt idx="382">
                  <c:v>44549</c:v>
                </c:pt>
                <c:pt idx="383">
                  <c:v>44550</c:v>
                </c:pt>
                <c:pt idx="384">
                  <c:v>44551</c:v>
                </c:pt>
                <c:pt idx="385">
                  <c:v>44552</c:v>
                </c:pt>
                <c:pt idx="386">
                  <c:v>44553</c:v>
                </c:pt>
                <c:pt idx="387">
                  <c:v>44554</c:v>
                </c:pt>
                <c:pt idx="388">
                  <c:v>44555</c:v>
                </c:pt>
                <c:pt idx="389">
                  <c:v>44556</c:v>
                </c:pt>
                <c:pt idx="390">
                  <c:v>44557</c:v>
                </c:pt>
                <c:pt idx="391">
                  <c:v>44558</c:v>
                </c:pt>
                <c:pt idx="392">
                  <c:v>44559</c:v>
                </c:pt>
                <c:pt idx="393">
                  <c:v>44560</c:v>
                </c:pt>
                <c:pt idx="394">
                  <c:v>44561</c:v>
                </c:pt>
                <c:pt idx="395">
                  <c:v>44562</c:v>
                </c:pt>
                <c:pt idx="396">
                  <c:v>44563</c:v>
                </c:pt>
                <c:pt idx="397">
                  <c:v>44564</c:v>
                </c:pt>
                <c:pt idx="398">
                  <c:v>44565</c:v>
                </c:pt>
                <c:pt idx="399">
                  <c:v>44566</c:v>
                </c:pt>
                <c:pt idx="400">
                  <c:v>44567</c:v>
                </c:pt>
                <c:pt idx="401">
                  <c:v>44568</c:v>
                </c:pt>
                <c:pt idx="402">
                  <c:v>44569</c:v>
                </c:pt>
                <c:pt idx="403">
                  <c:v>44570</c:v>
                </c:pt>
                <c:pt idx="404">
                  <c:v>44571</c:v>
                </c:pt>
                <c:pt idx="405">
                  <c:v>44572</c:v>
                </c:pt>
                <c:pt idx="406">
                  <c:v>44573</c:v>
                </c:pt>
                <c:pt idx="407">
                  <c:v>44574</c:v>
                </c:pt>
                <c:pt idx="408">
                  <c:v>44575</c:v>
                </c:pt>
                <c:pt idx="409">
                  <c:v>44576</c:v>
                </c:pt>
                <c:pt idx="410">
                  <c:v>44577</c:v>
                </c:pt>
                <c:pt idx="411">
                  <c:v>44578</c:v>
                </c:pt>
                <c:pt idx="412">
                  <c:v>44579</c:v>
                </c:pt>
                <c:pt idx="413">
                  <c:v>44580</c:v>
                </c:pt>
                <c:pt idx="414">
                  <c:v>44581</c:v>
                </c:pt>
                <c:pt idx="415">
                  <c:v>44582</c:v>
                </c:pt>
              </c:numCache>
            </c:numRef>
          </c:cat>
          <c:val>
            <c:numRef>
              <c:f>Sheet1!$B$2:$B$417</c:f>
              <c:numCache>
                <c:formatCode>General</c:formatCode>
                <c:ptCount val="41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8</c:v>
                </c:pt>
                <c:pt idx="28">
                  <c:v>9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36</c:v>
                </c:pt>
                <c:pt idx="39">
                  <c:v>49</c:v>
                </c:pt>
                <c:pt idx="40">
                  <c:v>33</c:v>
                </c:pt>
                <c:pt idx="41">
                  <c:v>40</c:v>
                </c:pt>
                <c:pt idx="42">
                  <c:v>25</c:v>
                </c:pt>
                <c:pt idx="43">
                  <c:v>16</c:v>
                </c:pt>
                <c:pt idx="44">
                  <c:v>42</c:v>
                </c:pt>
                <c:pt idx="45">
                  <c:v>40</c:v>
                </c:pt>
                <c:pt idx="46">
                  <c:v>53</c:v>
                </c:pt>
                <c:pt idx="47">
                  <c:v>62</c:v>
                </c:pt>
                <c:pt idx="48">
                  <c:v>75</c:v>
                </c:pt>
                <c:pt idx="49">
                  <c:v>45</c:v>
                </c:pt>
                <c:pt idx="50">
                  <c:v>33</c:v>
                </c:pt>
                <c:pt idx="51">
                  <c:v>78</c:v>
                </c:pt>
                <c:pt idx="52">
                  <c:v>70</c:v>
                </c:pt>
                <c:pt idx="53">
                  <c:v>42</c:v>
                </c:pt>
                <c:pt idx="54">
                  <c:v>85</c:v>
                </c:pt>
                <c:pt idx="55">
                  <c:v>95</c:v>
                </c:pt>
                <c:pt idx="56">
                  <c:v>37</c:v>
                </c:pt>
                <c:pt idx="57">
                  <c:v>37</c:v>
                </c:pt>
                <c:pt idx="58">
                  <c:v>63</c:v>
                </c:pt>
                <c:pt idx="59">
                  <c:v>63</c:v>
                </c:pt>
                <c:pt idx="60">
                  <c:v>65</c:v>
                </c:pt>
                <c:pt idx="61">
                  <c:v>78</c:v>
                </c:pt>
                <c:pt idx="62">
                  <c:v>84</c:v>
                </c:pt>
                <c:pt idx="63">
                  <c:v>32</c:v>
                </c:pt>
                <c:pt idx="64">
                  <c:v>16</c:v>
                </c:pt>
                <c:pt idx="65">
                  <c:v>53</c:v>
                </c:pt>
                <c:pt idx="66">
                  <c:v>72</c:v>
                </c:pt>
                <c:pt idx="67">
                  <c:v>118</c:v>
                </c:pt>
                <c:pt idx="68">
                  <c:v>92</c:v>
                </c:pt>
                <c:pt idx="69">
                  <c:v>79</c:v>
                </c:pt>
                <c:pt idx="70">
                  <c:v>43</c:v>
                </c:pt>
                <c:pt idx="71">
                  <c:v>23</c:v>
                </c:pt>
                <c:pt idx="72">
                  <c:v>65</c:v>
                </c:pt>
                <c:pt idx="73">
                  <c:v>26</c:v>
                </c:pt>
                <c:pt idx="74">
                  <c:v>47</c:v>
                </c:pt>
                <c:pt idx="75">
                  <c:v>59</c:v>
                </c:pt>
                <c:pt idx="76">
                  <c:v>50</c:v>
                </c:pt>
                <c:pt idx="77">
                  <c:v>20</c:v>
                </c:pt>
                <c:pt idx="78">
                  <c:v>13</c:v>
                </c:pt>
                <c:pt idx="79">
                  <c:v>68</c:v>
                </c:pt>
                <c:pt idx="80">
                  <c:v>41</c:v>
                </c:pt>
                <c:pt idx="81">
                  <c:v>25</c:v>
                </c:pt>
                <c:pt idx="82">
                  <c:v>34</c:v>
                </c:pt>
                <c:pt idx="83">
                  <c:v>27</c:v>
                </c:pt>
                <c:pt idx="84">
                  <c:v>15</c:v>
                </c:pt>
                <c:pt idx="85">
                  <c:v>13</c:v>
                </c:pt>
                <c:pt idx="86">
                  <c:v>41</c:v>
                </c:pt>
                <c:pt idx="87">
                  <c:v>33</c:v>
                </c:pt>
                <c:pt idx="88">
                  <c:v>27</c:v>
                </c:pt>
                <c:pt idx="89">
                  <c:v>22</c:v>
                </c:pt>
                <c:pt idx="90">
                  <c:v>36</c:v>
                </c:pt>
                <c:pt idx="91">
                  <c:v>20</c:v>
                </c:pt>
                <c:pt idx="92">
                  <c:v>10</c:v>
                </c:pt>
                <c:pt idx="93">
                  <c:v>34</c:v>
                </c:pt>
                <c:pt idx="94">
                  <c:v>28</c:v>
                </c:pt>
                <c:pt idx="95">
                  <c:v>33</c:v>
                </c:pt>
                <c:pt idx="96">
                  <c:v>24</c:v>
                </c:pt>
                <c:pt idx="97">
                  <c:v>33</c:v>
                </c:pt>
                <c:pt idx="98">
                  <c:v>18</c:v>
                </c:pt>
                <c:pt idx="99">
                  <c:v>24</c:v>
                </c:pt>
                <c:pt idx="100">
                  <c:v>36</c:v>
                </c:pt>
                <c:pt idx="101">
                  <c:v>26</c:v>
                </c:pt>
                <c:pt idx="102">
                  <c:v>27</c:v>
                </c:pt>
                <c:pt idx="103">
                  <c:v>14</c:v>
                </c:pt>
                <c:pt idx="104">
                  <c:v>39</c:v>
                </c:pt>
                <c:pt idx="105">
                  <c:v>15</c:v>
                </c:pt>
                <c:pt idx="106">
                  <c:v>6</c:v>
                </c:pt>
                <c:pt idx="107">
                  <c:v>30</c:v>
                </c:pt>
                <c:pt idx="108">
                  <c:v>41</c:v>
                </c:pt>
                <c:pt idx="109">
                  <c:v>21</c:v>
                </c:pt>
                <c:pt idx="110">
                  <c:v>5</c:v>
                </c:pt>
                <c:pt idx="111">
                  <c:v>21</c:v>
                </c:pt>
                <c:pt idx="112">
                  <c:v>17</c:v>
                </c:pt>
                <c:pt idx="113">
                  <c:v>19</c:v>
                </c:pt>
                <c:pt idx="114">
                  <c:v>20</c:v>
                </c:pt>
                <c:pt idx="115">
                  <c:v>44</c:v>
                </c:pt>
                <c:pt idx="116">
                  <c:v>25</c:v>
                </c:pt>
                <c:pt idx="117">
                  <c:v>36</c:v>
                </c:pt>
                <c:pt idx="118">
                  <c:v>19</c:v>
                </c:pt>
                <c:pt idx="119">
                  <c:v>14</c:v>
                </c:pt>
                <c:pt idx="120">
                  <c:v>5</c:v>
                </c:pt>
                <c:pt idx="121">
                  <c:v>32</c:v>
                </c:pt>
                <c:pt idx="122">
                  <c:v>30</c:v>
                </c:pt>
                <c:pt idx="123">
                  <c:v>36</c:v>
                </c:pt>
                <c:pt idx="124">
                  <c:v>40</c:v>
                </c:pt>
                <c:pt idx="125">
                  <c:v>33</c:v>
                </c:pt>
                <c:pt idx="126">
                  <c:v>15</c:v>
                </c:pt>
                <c:pt idx="127">
                  <c:v>8</c:v>
                </c:pt>
                <c:pt idx="128">
                  <c:v>52</c:v>
                </c:pt>
                <c:pt idx="129">
                  <c:v>24</c:v>
                </c:pt>
                <c:pt idx="130">
                  <c:v>22</c:v>
                </c:pt>
                <c:pt idx="131">
                  <c:v>13</c:v>
                </c:pt>
                <c:pt idx="132">
                  <c:v>20</c:v>
                </c:pt>
                <c:pt idx="133">
                  <c:v>12</c:v>
                </c:pt>
                <c:pt idx="134">
                  <c:v>15</c:v>
                </c:pt>
                <c:pt idx="135">
                  <c:v>29</c:v>
                </c:pt>
                <c:pt idx="136">
                  <c:v>23</c:v>
                </c:pt>
                <c:pt idx="137">
                  <c:v>38</c:v>
                </c:pt>
                <c:pt idx="138">
                  <c:v>23</c:v>
                </c:pt>
                <c:pt idx="139">
                  <c:v>21</c:v>
                </c:pt>
                <c:pt idx="140">
                  <c:v>7</c:v>
                </c:pt>
                <c:pt idx="141">
                  <c:v>9</c:v>
                </c:pt>
                <c:pt idx="142">
                  <c:v>21</c:v>
                </c:pt>
                <c:pt idx="143">
                  <c:v>12</c:v>
                </c:pt>
                <c:pt idx="144">
                  <c:v>21</c:v>
                </c:pt>
                <c:pt idx="145">
                  <c:v>11</c:v>
                </c:pt>
                <c:pt idx="146">
                  <c:v>8</c:v>
                </c:pt>
                <c:pt idx="147">
                  <c:v>10</c:v>
                </c:pt>
                <c:pt idx="148">
                  <c:v>5</c:v>
                </c:pt>
                <c:pt idx="149">
                  <c:v>22</c:v>
                </c:pt>
                <c:pt idx="150">
                  <c:v>20</c:v>
                </c:pt>
                <c:pt idx="151">
                  <c:v>13</c:v>
                </c:pt>
                <c:pt idx="152">
                  <c:v>20</c:v>
                </c:pt>
                <c:pt idx="153">
                  <c:v>15</c:v>
                </c:pt>
                <c:pt idx="154">
                  <c:v>5</c:v>
                </c:pt>
                <c:pt idx="155">
                  <c:v>5</c:v>
                </c:pt>
                <c:pt idx="156">
                  <c:v>14</c:v>
                </c:pt>
                <c:pt idx="157">
                  <c:v>15</c:v>
                </c:pt>
                <c:pt idx="158">
                  <c:v>16</c:v>
                </c:pt>
                <c:pt idx="159">
                  <c:v>11</c:v>
                </c:pt>
                <c:pt idx="160">
                  <c:v>13</c:v>
                </c:pt>
                <c:pt idx="161">
                  <c:v>2</c:v>
                </c:pt>
                <c:pt idx="162">
                  <c:v>3</c:v>
                </c:pt>
                <c:pt idx="163">
                  <c:v>8</c:v>
                </c:pt>
                <c:pt idx="164">
                  <c:v>7</c:v>
                </c:pt>
                <c:pt idx="165">
                  <c:v>7</c:v>
                </c:pt>
                <c:pt idx="166">
                  <c:v>9</c:v>
                </c:pt>
                <c:pt idx="167">
                  <c:v>5</c:v>
                </c:pt>
                <c:pt idx="168">
                  <c:v>10</c:v>
                </c:pt>
                <c:pt idx="169">
                  <c:v>3</c:v>
                </c:pt>
                <c:pt idx="170">
                  <c:v>21</c:v>
                </c:pt>
                <c:pt idx="171">
                  <c:v>15</c:v>
                </c:pt>
                <c:pt idx="172">
                  <c:v>8</c:v>
                </c:pt>
                <c:pt idx="173">
                  <c:v>11</c:v>
                </c:pt>
                <c:pt idx="174">
                  <c:v>7</c:v>
                </c:pt>
                <c:pt idx="175">
                  <c:v>3</c:v>
                </c:pt>
                <c:pt idx="176">
                  <c:v>1</c:v>
                </c:pt>
                <c:pt idx="177">
                  <c:v>10</c:v>
                </c:pt>
                <c:pt idx="178">
                  <c:v>7</c:v>
                </c:pt>
                <c:pt idx="179">
                  <c:v>8</c:v>
                </c:pt>
                <c:pt idx="180">
                  <c:v>4</c:v>
                </c:pt>
                <c:pt idx="181">
                  <c:v>7</c:v>
                </c:pt>
                <c:pt idx="182">
                  <c:v>2</c:v>
                </c:pt>
                <c:pt idx="183">
                  <c:v>3</c:v>
                </c:pt>
                <c:pt idx="184">
                  <c:v>6</c:v>
                </c:pt>
                <c:pt idx="185">
                  <c:v>8</c:v>
                </c:pt>
                <c:pt idx="186">
                  <c:v>10</c:v>
                </c:pt>
                <c:pt idx="187">
                  <c:v>3</c:v>
                </c:pt>
                <c:pt idx="188">
                  <c:v>5</c:v>
                </c:pt>
                <c:pt idx="189">
                  <c:v>5</c:v>
                </c:pt>
                <c:pt idx="190">
                  <c:v>3</c:v>
                </c:pt>
                <c:pt idx="191">
                  <c:v>9</c:v>
                </c:pt>
                <c:pt idx="192">
                  <c:v>9</c:v>
                </c:pt>
                <c:pt idx="193">
                  <c:v>2</c:v>
                </c:pt>
                <c:pt idx="194">
                  <c:v>8</c:v>
                </c:pt>
                <c:pt idx="195">
                  <c:v>11</c:v>
                </c:pt>
                <c:pt idx="196">
                  <c:v>3</c:v>
                </c:pt>
                <c:pt idx="197">
                  <c:v>2</c:v>
                </c:pt>
                <c:pt idx="198">
                  <c:v>5</c:v>
                </c:pt>
                <c:pt idx="199">
                  <c:v>7</c:v>
                </c:pt>
                <c:pt idx="200">
                  <c:v>3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0</c:v>
                </c:pt>
                <c:pt idx="205">
                  <c:v>2</c:v>
                </c:pt>
                <c:pt idx="206">
                  <c:v>1</c:v>
                </c:pt>
                <c:pt idx="207">
                  <c:v>1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5</c:v>
                </c:pt>
                <c:pt idx="215">
                  <c:v>0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1</c:v>
                </c:pt>
                <c:pt idx="220">
                  <c:v>3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1</c:v>
                </c:pt>
                <c:pt idx="228">
                  <c:v>2</c:v>
                </c:pt>
                <c:pt idx="229">
                  <c:v>2</c:v>
                </c:pt>
                <c:pt idx="230">
                  <c:v>1</c:v>
                </c:pt>
                <c:pt idx="231">
                  <c:v>0</c:v>
                </c:pt>
                <c:pt idx="232">
                  <c:v>0</c:v>
                </c:pt>
                <c:pt idx="233">
                  <c:v>4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2</c:v>
                </c:pt>
                <c:pt idx="248">
                  <c:v>2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2</c:v>
                </c:pt>
                <c:pt idx="260">
                  <c:v>1</c:v>
                </c:pt>
                <c:pt idx="261">
                  <c:v>0</c:v>
                </c:pt>
                <c:pt idx="262">
                  <c:v>1</c:v>
                </c:pt>
                <c:pt idx="263">
                  <c:v>1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1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1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2</c:v>
                </c:pt>
                <c:pt idx="284">
                  <c:v>2</c:v>
                </c:pt>
                <c:pt idx="285">
                  <c:v>1</c:v>
                </c:pt>
                <c:pt idx="286">
                  <c:v>0</c:v>
                </c:pt>
                <c:pt idx="287">
                  <c:v>2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2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3</c:v>
                </c:pt>
                <c:pt idx="310">
                  <c:v>1</c:v>
                </c:pt>
                <c:pt idx="311">
                  <c:v>2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3</c:v>
                </c:pt>
                <c:pt idx="316">
                  <c:v>1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4</c:v>
                </c:pt>
                <c:pt idx="321">
                  <c:v>0</c:v>
                </c:pt>
                <c:pt idx="322">
                  <c:v>1</c:v>
                </c:pt>
                <c:pt idx="323">
                  <c:v>0</c:v>
                </c:pt>
                <c:pt idx="324">
                  <c:v>2</c:v>
                </c:pt>
                <c:pt idx="325">
                  <c:v>0</c:v>
                </c:pt>
                <c:pt idx="326">
                  <c:v>0</c:v>
                </c:pt>
                <c:pt idx="327">
                  <c:v>4</c:v>
                </c:pt>
                <c:pt idx="328">
                  <c:v>2</c:v>
                </c:pt>
                <c:pt idx="329">
                  <c:v>2</c:v>
                </c:pt>
                <c:pt idx="330">
                  <c:v>0</c:v>
                </c:pt>
                <c:pt idx="331">
                  <c:v>5</c:v>
                </c:pt>
                <c:pt idx="332">
                  <c:v>3</c:v>
                </c:pt>
                <c:pt idx="333">
                  <c:v>2</c:v>
                </c:pt>
                <c:pt idx="334">
                  <c:v>9</c:v>
                </c:pt>
                <c:pt idx="335">
                  <c:v>6</c:v>
                </c:pt>
                <c:pt idx="336">
                  <c:v>5</c:v>
                </c:pt>
                <c:pt idx="337">
                  <c:v>3</c:v>
                </c:pt>
                <c:pt idx="338">
                  <c:v>6</c:v>
                </c:pt>
                <c:pt idx="339">
                  <c:v>1</c:v>
                </c:pt>
                <c:pt idx="340">
                  <c:v>1</c:v>
                </c:pt>
                <c:pt idx="341">
                  <c:v>5</c:v>
                </c:pt>
                <c:pt idx="342">
                  <c:v>7</c:v>
                </c:pt>
                <c:pt idx="343">
                  <c:v>4</c:v>
                </c:pt>
                <c:pt idx="344">
                  <c:v>6</c:v>
                </c:pt>
                <c:pt idx="345">
                  <c:v>2</c:v>
                </c:pt>
                <c:pt idx="346">
                  <c:v>5</c:v>
                </c:pt>
                <c:pt idx="347">
                  <c:v>2</c:v>
                </c:pt>
                <c:pt idx="348">
                  <c:v>7</c:v>
                </c:pt>
                <c:pt idx="349">
                  <c:v>7</c:v>
                </c:pt>
                <c:pt idx="350">
                  <c:v>6</c:v>
                </c:pt>
                <c:pt idx="351">
                  <c:v>12</c:v>
                </c:pt>
                <c:pt idx="352">
                  <c:v>7</c:v>
                </c:pt>
                <c:pt idx="353">
                  <c:v>3</c:v>
                </c:pt>
                <c:pt idx="354">
                  <c:v>3</c:v>
                </c:pt>
                <c:pt idx="355">
                  <c:v>12</c:v>
                </c:pt>
                <c:pt idx="356">
                  <c:v>5</c:v>
                </c:pt>
                <c:pt idx="357">
                  <c:v>15</c:v>
                </c:pt>
                <c:pt idx="358">
                  <c:v>3</c:v>
                </c:pt>
                <c:pt idx="359">
                  <c:v>8</c:v>
                </c:pt>
                <c:pt idx="360">
                  <c:v>1</c:v>
                </c:pt>
                <c:pt idx="361">
                  <c:v>3</c:v>
                </c:pt>
                <c:pt idx="362">
                  <c:v>7</c:v>
                </c:pt>
                <c:pt idx="363">
                  <c:v>4</c:v>
                </c:pt>
                <c:pt idx="364">
                  <c:v>7</c:v>
                </c:pt>
                <c:pt idx="365">
                  <c:v>6</c:v>
                </c:pt>
                <c:pt idx="366">
                  <c:v>4</c:v>
                </c:pt>
                <c:pt idx="367">
                  <c:v>5</c:v>
                </c:pt>
                <c:pt idx="368">
                  <c:v>2</c:v>
                </c:pt>
                <c:pt idx="369">
                  <c:v>9</c:v>
                </c:pt>
                <c:pt idx="370">
                  <c:v>3</c:v>
                </c:pt>
                <c:pt idx="371">
                  <c:v>6</c:v>
                </c:pt>
                <c:pt idx="372">
                  <c:v>5</c:v>
                </c:pt>
                <c:pt idx="373">
                  <c:v>6</c:v>
                </c:pt>
                <c:pt idx="374">
                  <c:v>2</c:v>
                </c:pt>
                <c:pt idx="375">
                  <c:v>0</c:v>
                </c:pt>
                <c:pt idx="376">
                  <c:v>5</c:v>
                </c:pt>
                <c:pt idx="377">
                  <c:v>2</c:v>
                </c:pt>
                <c:pt idx="378">
                  <c:v>1</c:v>
                </c:pt>
                <c:pt idx="379">
                  <c:v>3</c:v>
                </c:pt>
                <c:pt idx="380">
                  <c:v>3</c:v>
                </c:pt>
                <c:pt idx="381">
                  <c:v>0</c:v>
                </c:pt>
                <c:pt idx="382">
                  <c:v>1</c:v>
                </c:pt>
                <c:pt idx="383">
                  <c:v>6</c:v>
                </c:pt>
                <c:pt idx="384">
                  <c:v>3</c:v>
                </c:pt>
                <c:pt idx="385">
                  <c:v>3</c:v>
                </c:pt>
                <c:pt idx="386">
                  <c:v>1</c:v>
                </c:pt>
                <c:pt idx="387">
                  <c:v>0</c:v>
                </c:pt>
                <c:pt idx="388">
                  <c:v>1</c:v>
                </c:pt>
                <c:pt idx="389">
                  <c:v>0</c:v>
                </c:pt>
                <c:pt idx="390">
                  <c:v>3</c:v>
                </c:pt>
                <c:pt idx="391">
                  <c:v>3</c:v>
                </c:pt>
                <c:pt idx="392">
                  <c:v>3</c:v>
                </c:pt>
                <c:pt idx="393">
                  <c:v>0</c:v>
                </c:pt>
                <c:pt idx="394">
                  <c:v>3</c:v>
                </c:pt>
                <c:pt idx="395">
                  <c:v>1</c:v>
                </c:pt>
                <c:pt idx="396">
                  <c:v>0</c:v>
                </c:pt>
                <c:pt idx="397">
                  <c:v>3</c:v>
                </c:pt>
                <c:pt idx="398">
                  <c:v>1</c:v>
                </c:pt>
                <c:pt idx="399">
                  <c:v>1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1</c:v>
                </c:pt>
                <c:pt idx="404">
                  <c:v>1</c:v>
                </c:pt>
                <c:pt idx="405">
                  <c:v>1</c:v>
                </c:pt>
                <c:pt idx="406">
                  <c:v>1</c:v>
                </c:pt>
                <c:pt idx="407">
                  <c:v>1</c:v>
                </c:pt>
                <c:pt idx="408">
                  <c:v>4</c:v>
                </c:pt>
                <c:pt idx="409">
                  <c:v>0</c:v>
                </c:pt>
                <c:pt idx="410">
                  <c:v>2</c:v>
                </c:pt>
                <c:pt idx="411">
                  <c:v>1</c:v>
                </c:pt>
                <c:pt idx="412">
                  <c:v>2</c:v>
                </c:pt>
                <c:pt idx="413">
                  <c:v>2</c:v>
                </c:pt>
                <c:pt idx="414">
                  <c:v>1</c:v>
                </c:pt>
                <c:pt idx="41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16</c:f>
              <c:numCache>
                <c:formatCode>m/d/yyyy</c:formatCode>
                <c:ptCount val="415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37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  <c:pt idx="373">
                  <c:v>44541</c:v>
                </c:pt>
                <c:pt idx="374">
                  <c:v>44542</c:v>
                </c:pt>
                <c:pt idx="375">
                  <c:v>44543</c:v>
                </c:pt>
                <c:pt idx="376">
                  <c:v>44544</c:v>
                </c:pt>
                <c:pt idx="377">
                  <c:v>44545</c:v>
                </c:pt>
                <c:pt idx="378">
                  <c:v>44546</c:v>
                </c:pt>
                <c:pt idx="379">
                  <c:v>44547</c:v>
                </c:pt>
                <c:pt idx="380">
                  <c:v>44548</c:v>
                </c:pt>
                <c:pt idx="381">
                  <c:v>44549</c:v>
                </c:pt>
                <c:pt idx="382">
                  <c:v>44550</c:v>
                </c:pt>
                <c:pt idx="383">
                  <c:v>44551</c:v>
                </c:pt>
                <c:pt idx="384">
                  <c:v>44552</c:v>
                </c:pt>
                <c:pt idx="385">
                  <c:v>44553</c:v>
                </c:pt>
                <c:pt idx="386">
                  <c:v>44554</c:v>
                </c:pt>
                <c:pt idx="387">
                  <c:v>44555</c:v>
                </c:pt>
                <c:pt idx="388">
                  <c:v>44556</c:v>
                </c:pt>
                <c:pt idx="389">
                  <c:v>44557</c:v>
                </c:pt>
                <c:pt idx="390">
                  <c:v>44558</c:v>
                </c:pt>
                <c:pt idx="391">
                  <c:v>44559</c:v>
                </c:pt>
                <c:pt idx="392">
                  <c:v>44560</c:v>
                </c:pt>
                <c:pt idx="393">
                  <c:v>44561</c:v>
                </c:pt>
                <c:pt idx="394">
                  <c:v>44562</c:v>
                </c:pt>
                <c:pt idx="395">
                  <c:v>44563</c:v>
                </c:pt>
                <c:pt idx="396">
                  <c:v>44564</c:v>
                </c:pt>
                <c:pt idx="397">
                  <c:v>44565</c:v>
                </c:pt>
                <c:pt idx="398">
                  <c:v>44566</c:v>
                </c:pt>
                <c:pt idx="399">
                  <c:v>44567</c:v>
                </c:pt>
                <c:pt idx="400">
                  <c:v>44568</c:v>
                </c:pt>
                <c:pt idx="401">
                  <c:v>44569</c:v>
                </c:pt>
                <c:pt idx="402">
                  <c:v>44570</c:v>
                </c:pt>
                <c:pt idx="403">
                  <c:v>44571</c:v>
                </c:pt>
                <c:pt idx="404">
                  <c:v>44572</c:v>
                </c:pt>
                <c:pt idx="405">
                  <c:v>44573</c:v>
                </c:pt>
                <c:pt idx="406">
                  <c:v>44574</c:v>
                </c:pt>
                <c:pt idx="407">
                  <c:v>44575</c:v>
                </c:pt>
                <c:pt idx="408">
                  <c:v>44576</c:v>
                </c:pt>
                <c:pt idx="409">
                  <c:v>44577</c:v>
                </c:pt>
                <c:pt idx="410">
                  <c:v>44578</c:v>
                </c:pt>
                <c:pt idx="411">
                  <c:v>44579</c:v>
                </c:pt>
                <c:pt idx="412">
                  <c:v>44580</c:v>
                </c:pt>
                <c:pt idx="413">
                  <c:v>44581</c:v>
                </c:pt>
                <c:pt idx="414">
                  <c:v>44582</c:v>
                </c:pt>
              </c:numCache>
            </c:numRef>
          </c:cat>
          <c:val>
            <c:numRef>
              <c:f>Sheet1!$B$2:$B$416</c:f>
              <c:numCache>
                <c:formatCode>General</c:formatCode>
                <c:ptCount val="41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4</c:v>
                </c:pt>
                <c:pt idx="23">
                  <c:v>1</c:v>
                </c:pt>
                <c:pt idx="24">
                  <c:v>8</c:v>
                </c:pt>
                <c:pt idx="25">
                  <c:v>9</c:v>
                </c:pt>
                <c:pt idx="26">
                  <c:v>18</c:v>
                </c:pt>
                <c:pt idx="27">
                  <c:v>9</c:v>
                </c:pt>
                <c:pt idx="28">
                  <c:v>7</c:v>
                </c:pt>
                <c:pt idx="29">
                  <c:v>46</c:v>
                </c:pt>
                <c:pt idx="30">
                  <c:v>15</c:v>
                </c:pt>
                <c:pt idx="31">
                  <c:v>8</c:v>
                </c:pt>
                <c:pt idx="32">
                  <c:v>17</c:v>
                </c:pt>
                <c:pt idx="33">
                  <c:v>28</c:v>
                </c:pt>
                <c:pt idx="34">
                  <c:v>12</c:v>
                </c:pt>
                <c:pt idx="35">
                  <c:v>2</c:v>
                </c:pt>
                <c:pt idx="36">
                  <c:v>28</c:v>
                </c:pt>
                <c:pt idx="37">
                  <c:v>36</c:v>
                </c:pt>
                <c:pt idx="38">
                  <c:v>49</c:v>
                </c:pt>
                <c:pt idx="39">
                  <c:v>33</c:v>
                </c:pt>
                <c:pt idx="40">
                  <c:v>40</c:v>
                </c:pt>
                <c:pt idx="41">
                  <c:v>25</c:v>
                </c:pt>
                <c:pt idx="42">
                  <c:v>16</c:v>
                </c:pt>
                <c:pt idx="43">
                  <c:v>42</c:v>
                </c:pt>
                <c:pt idx="44">
                  <c:v>40</c:v>
                </c:pt>
                <c:pt idx="45">
                  <c:v>53</c:v>
                </c:pt>
                <c:pt idx="46">
                  <c:v>62</c:v>
                </c:pt>
                <c:pt idx="47">
                  <c:v>75</c:v>
                </c:pt>
                <c:pt idx="48">
                  <c:v>45</c:v>
                </c:pt>
                <c:pt idx="49">
                  <c:v>33</c:v>
                </c:pt>
                <c:pt idx="50">
                  <c:v>78</c:v>
                </c:pt>
                <c:pt idx="51">
                  <c:v>70</c:v>
                </c:pt>
                <c:pt idx="52">
                  <c:v>42</c:v>
                </c:pt>
                <c:pt idx="53">
                  <c:v>85</c:v>
                </c:pt>
                <c:pt idx="54">
                  <c:v>95</c:v>
                </c:pt>
                <c:pt idx="55">
                  <c:v>37</c:v>
                </c:pt>
                <c:pt idx="56">
                  <c:v>37</c:v>
                </c:pt>
                <c:pt idx="57">
                  <c:v>63</c:v>
                </c:pt>
                <c:pt idx="58">
                  <c:v>63</c:v>
                </c:pt>
                <c:pt idx="59">
                  <c:v>65</c:v>
                </c:pt>
                <c:pt idx="60">
                  <c:v>78</c:v>
                </c:pt>
                <c:pt idx="61">
                  <c:v>84</c:v>
                </c:pt>
                <c:pt idx="62">
                  <c:v>32</c:v>
                </c:pt>
                <c:pt idx="63">
                  <c:v>16</c:v>
                </c:pt>
                <c:pt idx="64">
                  <c:v>53</c:v>
                </c:pt>
                <c:pt idx="65">
                  <c:v>72</c:v>
                </c:pt>
                <c:pt idx="66">
                  <c:v>118</c:v>
                </c:pt>
                <c:pt idx="67">
                  <c:v>92</c:v>
                </c:pt>
                <c:pt idx="68">
                  <c:v>79</c:v>
                </c:pt>
                <c:pt idx="69">
                  <c:v>43</c:v>
                </c:pt>
                <c:pt idx="70">
                  <c:v>23</c:v>
                </c:pt>
                <c:pt idx="71">
                  <c:v>65</c:v>
                </c:pt>
                <c:pt idx="72">
                  <c:v>26</c:v>
                </c:pt>
                <c:pt idx="73">
                  <c:v>47</c:v>
                </c:pt>
                <c:pt idx="74">
                  <c:v>59</c:v>
                </c:pt>
                <c:pt idx="75">
                  <c:v>50</c:v>
                </c:pt>
                <c:pt idx="76">
                  <c:v>20</c:v>
                </c:pt>
                <c:pt idx="77">
                  <c:v>13</c:v>
                </c:pt>
                <c:pt idx="78">
                  <c:v>68</c:v>
                </c:pt>
                <c:pt idx="79">
                  <c:v>41</c:v>
                </c:pt>
                <c:pt idx="80">
                  <c:v>25</c:v>
                </c:pt>
                <c:pt idx="81">
                  <c:v>34</c:v>
                </c:pt>
                <c:pt idx="82">
                  <c:v>27</c:v>
                </c:pt>
                <c:pt idx="83">
                  <c:v>15</c:v>
                </c:pt>
                <c:pt idx="84">
                  <c:v>13</c:v>
                </c:pt>
                <c:pt idx="85">
                  <c:v>41</c:v>
                </c:pt>
                <c:pt idx="86">
                  <c:v>33</c:v>
                </c:pt>
                <c:pt idx="87">
                  <c:v>27</c:v>
                </c:pt>
                <c:pt idx="88">
                  <c:v>22</c:v>
                </c:pt>
                <c:pt idx="89">
                  <c:v>36</c:v>
                </c:pt>
                <c:pt idx="90">
                  <c:v>20</c:v>
                </c:pt>
                <c:pt idx="91">
                  <c:v>10</c:v>
                </c:pt>
                <c:pt idx="92">
                  <c:v>34</c:v>
                </c:pt>
                <c:pt idx="93">
                  <c:v>28</c:v>
                </c:pt>
                <c:pt idx="94">
                  <c:v>33</c:v>
                </c:pt>
                <c:pt idx="95">
                  <c:v>24</c:v>
                </c:pt>
                <c:pt idx="96">
                  <c:v>33</c:v>
                </c:pt>
                <c:pt idx="97">
                  <c:v>18</c:v>
                </c:pt>
                <c:pt idx="98">
                  <c:v>24</c:v>
                </c:pt>
                <c:pt idx="99">
                  <c:v>36</c:v>
                </c:pt>
                <c:pt idx="100">
                  <c:v>26</c:v>
                </c:pt>
                <c:pt idx="101">
                  <c:v>27</c:v>
                </c:pt>
                <c:pt idx="102">
                  <c:v>14</c:v>
                </c:pt>
                <c:pt idx="103">
                  <c:v>39</c:v>
                </c:pt>
                <c:pt idx="104">
                  <c:v>15</c:v>
                </c:pt>
                <c:pt idx="105">
                  <c:v>6</c:v>
                </c:pt>
                <c:pt idx="106">
                  <c:v>30</c:v>
                </c:pt>
                <c:pt idx="107">
                  <c:v>41</c:v>
                </c:pt>
                <c:pt idx="108">
                  <c:v>21</c:v>
                </c:pt>
                <c:pt idx="109">
                  <c:v>5</c:v>
                </c:pt>
                <c:pt idx="110">
                  <c:v>21</c:v>
                </c:pt>
                <c:pt idx="111">
                  <c:v>17</c:v>
                </c:pt>
                <c:pt idx="112">
                  <c:v>19</c:v>
                </c:pt>
                <c:pt idx="113">
                  <c:v>20</c:v>
                </c:pt>
                <c:pt idx="114">
                  <c:v>44</c:v>
                </c:pt>
                <c:pt idx="115">
                  <c:v>25</c:v>
                </c:pt>
                <c:pt idx="116">
                  <c:v>36</c:v>
                </c:pt>
                <c:pt idx="117">
                  <c:v>19</c:v>
                </c:pt>
                <c:pt idx="118">
                  <c:v>14</c:v>
                </c:pt>
                <c:pt idx="119">
                  <c:v>5</c:v>
                </c:pt>
                <c:pt idx="120">
                  <c:v>32</c:v>
                </c:pt>
                <c:pt idx="121">
                  <c:v>30</c:v>
                </c:pt>
                <c:pt idx="122">
                  <c:v>36</c:v>
                </c:pt>
                <c:pt idx="123">
                  <c:v>40</c:v>
                </c:pt>
                <c:pt idx="124">
                  <c:v>33</c:v>
                </c:pt>
                <c:pt idx="125">
                  <c:v>15</c:v>
                </c:pt>
                <c:pt idx="126">
                  <c:v>8</c:v>
                </c:pt>
                <c:pt idx="127">
                  <c:v>52</c:v>
                </c:pt>
                <c:pt idx="128">
                  <c:v>24</c:v>
                </c:pt>
                <c:pt idx="129">
                  <c:v>22</c:v>
                </c:pt>
                <c:pt idx="130">
                  <c:v>13</c:v>
                </c:pt>
                <c:pt idx="131">
                  <c:v>20</c:v>
                </c:pt>
                <c:pt idx="132">
                  <c:v>12</c:v>
                </c:pt>
                <c:pt idx="133">
                  <c:v>15</c:v>
                </c:pt>
                <c:pt idx="134">
                  <c:v>29</c:v>
                </c:pt>
                <c:pt idx="135">
                  <c:v>23</c:v>
                </c:pt>
                <c:pt idx="136">
                  <c:v>38</c:v>
                </c:pt>
                <c:pt idx="137">
                  <c:v>23</c:v>
                </c:pt>
                <c:pt idx="138">
                  <c:v>21</c:v>
                </c:pt>
                <c:pt idx="139">
                  <c:v>7</c:v>
                </c:pt>
                <c:pt idx="140">
                  <c:v>9</c:v>
                </c:pt>
                <c:pt idx="141">
                  <c:v>21</c:v>
                </c:pt>
                <c:pt idx="142">
                  <c:v>12</c:v>
                </c:pt>
                <c:pt idx="143">
                  <c:v>21</c:v>
                </c:pt>
                <c:pt idx="144">
                  <c:v>11</c:v>
                </c:pt>
                <c:pt idx="145">
                  <c:v>8</c:v>
                </c:pt>
                <c:pt idx="146">
                  <c:v>10</c:v>
                </c:pt>
                <c:pt idx="147">
                  <c:v>5</c:v>
                </c:pt>
                <c:pt idx="148">
                  <c:v>22</c:v>
                </c:pt>
                <c:pt idx="149">
                  <c:v>20</c:v>
                </c:pt>
                <c:pt idx="150">
                  <c:v>13</c:v>
                </c:pt>
                <c:pt idx="151">
                  <c:v>20</c:v>
                </c:pt>
                <c:pt idx="152">
                  <c:v>15</c:v>
                </c:pt>
                <c:pt idx="153">
                  <c:v>5</c:v>
                </c:pt>
                <c:pt idx="154">
                  <c:v>5</c:v>
                </c:pt>
                <c:pt idx="155">
                  <c:v>14</c:v>
                </c:pt>
                <c:pt idx="156">
                  <c:v>15</c:v>
                </c:pt>
                <c:pt idx="157">
                  <c:v>16</c:v>
                </c:pt>
                <c:pt idx="158">
                  <c:v>11</c:v>
                </c:pt>
                <c:pt idx="159">
                  <c:v>13</c:v>
                </c:pt>
                <c:pt idx="160">
                  <c:v>2</c:v>
                </c:pt>
                <c:pt idx="161">
                  <c:v>3</c:v>
                </c:pt>
                <c:pt idx="162">
                  <c:v>8</c:v>
                </c:pt>
                <c:pt idx="163">
                  <c:v>7</c:v>
                </c:pt>
                <c:pt idx="164">
                  <c:v>7</c:v>
                </c:pt>
                <c:pt idx="165">
                  <c:v>9</c:v>
                </c:pt>
                <c:pt idx="166">
                  <c:v>5</c:v>
                </c:pt>
                <c:pt idx="167">
                  <c:v>10</c:v>
                </c:pt>
                <c:pt idx="168">
                  <c:v>3</c:v>
                </c:pt>
                <c:pt idx="169">
                  <c:v>21</c:v>
                </c:pt>
                <c:pt idx="170">
                  <c:v>15</c:v>
                </c:pt>
                <c:pt idx="171">
                  <c:v>8</c:v>
                </c:pt>
                <c:pt idx="172">
                  <c:v>11</c:v>
                </c:pt>
                <c:pt idx="173">
                  <c:v>7</c:v>
                </c:pt>
                <c:pt idx="174">
                  <c:v>3</c:v>
                </c:pt>
                <c:pt idx="175">
                  <c:v>1</c:v>
                </c:pt>
                <c:pt idx="176">
                  <c:v>10</c:v>
                </c:pt>
                <c:pt idx="177">
                  <c:v>7</c:v>
                </c:pt>
                <c:pt idx="178">
                  <c:v>8</c:v>
                </c:pt>
                <c:pt idx="179">
                  <c:v>4</c:v>
                </c:pt>
                <c:pt idx="180">
                  <c:v>7</c:v>
                </c:pt>
                <c:pt idx="181">
                  <c:v>2</c:v>
                </c:pt>
                <c:pt idx="182">
                  <c:v>3</c:v>
                </c:pt>
                <c:pt idx="183">
                  <c:v>6</c:v>
                </c:pt>
                <c:pt idx="184">
                  <c:v>8</c:v>
                </c:pt>
                <c:pt idx="185">
                  <c:v>10</c:v>
                </c:pt>
                <c:pt idx="186">
                  <c:v>3</c:v>
                </c:pt>
                <c:pt idx="187">
                  <c:v>5</c:v>
                </c:pt>
                <c:pt idx="188">
                  <c:v>5</c:v>
                </c:pt>
                <c:pt idx="189">
                  <c:v>3</c:v>
                </c:pt>
                <c:pt idx="190">
                  <c:v>9</c:v>
                </c:pt>
                <c:pt idx="191">
                  <c:v>9</c:v>
                </c:pt>
                <c:pt idx="192">
                  <c:v>2</c:v>
                </c:pt>
                <c:pt idx="193">
                  <c:v>8</c:v>
                </c:pt>
                <c:pt idx="194">
                  <c:v>11</c:v>
                </c:pt>
                <c:pt idx="195">
                  <c:v>3</c:v>
                </c:pt>
                <c:pt idx="196">
                  <c:v>2</c:v>
                </c:pt>
                <c:pt idx="197">
                  <c:v>5</c:v>
                </c:pt>
                <c:pt idx="198">
                  <c:v>7</c:v>
                </c:pt>
                <c:pt idx="199">
                  <c:v>3</c:v>
                </c:pt>
                <c:pt idx="200">
                  <c:v>2</c:v>
                </c:pt>
                <c:pt idx="201">
                  <c:v>1</c:v>
                </c:pt>
                <c:pt idx="202">
                  <c:v>2</c:v>
                </c:pt>
                <c:pt idx="203">
                  <c:v>0</c:v>
                </c:pt>
                <c:pt idx="204">
                  <c:v>2</c:v>
                </c:pt>
                <c:pt idx="205">
                  <c:v>1</c:v>
                </c:pt>
                <c:pt idx="206">
                  <c:v>1</c:v>
                </c:pt>
                <c:pt idx="207">
                  <c:v>2</c:v>
                </c:pt>
                <c:pt idx="208">
                  <c:v>1</c:v>
                </c:pt>
                <c:pt idx="209">
                  <c:v>3</c:v>
                </c:pt>
                <c:pt idx="210">
                  <c:v>2</c:v>
                </c:pt>
                <c:pt idx="211">
                  <c:v>0</c:v>
                </c:pt>
                <c:pt idx="212">
                  <c:v>0</c:v>
                </c:pt>
                <c:pt idx="213">
                  <c:v>5</c:v>
                </c:pt>
                <c:pt idx="214">
                  <c:v>0</c:v>
                </c:pt>
                <c:pt idx="215">
                  <c:v>1</c:v>
                </c:pt>
                <c:pt idx="216">
                  <c:v>0</c:v>
                </c:pt>
                <c:pt idx="217">
                  <c:v>0</c:v>
                </c:pt>
                <c:pt idx="218">
                  <c:v>1</c:v>
                </c:pt>
                <c:pt idx="219">
                  <c:v>3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1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1</c:v>
                </c:pt>
                <c:pt idx="230">
                  <c:v>0</c:v>
                </c:pt>
                <c:pt idx="231">
                  <c:v>0</c:v>
                </c:pt>
                <c:pt idx="232">
                  <c:v>4</c:v>
                </c:pt>
                <c:pt idx="233">
                  <c:v>0</c:v>
                </c:pt>
                <c:pt idx="234">
                  <c:v>1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1</c:v>
                </c:pt>
                <c:pt idx="242">
                  <c:v>0</c:v>
                </c:pt>
                <c:pt idx="243">
                  <c:v>2</c:v>
                </c:pt>
                <c:pt idx="244">
                  <c:v>3</c:v>
                </c:pt>
                <c:pt idx="245">
                  <c:v>1</c:v>
                </c:pt>
                <c:pt idx="246">
                  <c:v>2</c:v>
                </c:pt>
                <c:pt idx="247">
                  <c:v>2</c:v>
                </c:pt>
                <c:pt idx="248">
                  <c:v>1</c:v>
                </c:pt>
                <c:pt idx="249">
                  <c:v>1</c:v>
                </c:pt>
                <c:pt idx="250">
                  <c:v>0</c:v>
                </c:pt>
                <c:pt idx="251">
                  <c:v>2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2</c:v>
                </c:pt>
                <c:pt idx="259">
                  <c:v>1</c:v>
                </c:pt>
                <c:pt idx="260">
                  <c:v>0</c:v>
                </c:pt>
                <c:pt idx="261">
                  <c:v>1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1</c:v>
                </c:pt>
                <c:pt idx="268">
                  <c:v>0</c:v>
                </c:pt>
                <c:pt idx="269">
                  <c:v>0</c:v>
                </c:pt>
                <c:pt idx="270">
                  <c:v>1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2</c:v>
                </c:pt>
                <c:pt idx="283">
                  <c:v>2</c:v>
                </c:pt>
                <c:pt idx="284">
                  <c:v>1</c:v>
                </c:pt>
                <c:pt idx="285">
                  <c:v>0</c:v>
                </c:pt>
                <c:pt idx="286">
                  <c:v>2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2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1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3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1</c:v>
                </c:pt>
                <c:pt idx="313">
                  <c:v>0</c:v>
                </c:pt>
                <c:pt idx="314">
                  <c:v>3</c:v>
                </c:pt>
                <c:pt idx="315">
                  <c:v>1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4</c:v>
                </c:pt>
                <c:pt idx="320">
                  <c:v>0</c:v>
                </c:pt>
                <c:pt idx="321">
                  <c:v>1</c:v>
                </c:pt>
                <c:pt idx="322">
                  <c:v>0</c:v>
                </c:pt>
                <c:pt idx="323">
                  <c:v>2</c:v>
                </c:pt>
                <c:pt idx="324">
                  <c:v>0</c:v>
                </c:pt>
                <c:pt idx="325">
                  <c:v>0</c:v>
                </c:pt>
                <c:pt idx="326">
                  <c:v>4</c:v>
                </c:pt>
                <c:pt idx="327">
                  <c:v>2</c:v>
                </c:pt>
                <c:pt idx="328">
                  <c:v>2</c:v>
                </c:pt>
                <c:pt idx="329">
                  <c:v>0</c:v>
                </c:pt>
                <c:pt idx="330">
                  <c:v>5</c:v>
                </c:pt>
                <c:pt idx="331">
                  <c:v>3</c:v>
                </c:pt>
                <c:pt idx="332">
                  <c:v>2</c:v>
                </c:pt>
                <c:pt idx="333">
                  <c:v>9</c:v>
                </c:pt>
                <c:pt idx="334">
                  <c:v>6</c:v>
                </c:pt>
                <c:pt idx="335">
                  <c:v>5</c:v>
                </c:pt>
                <c:pt idx="336">
                  <c:v>3</c:v>
                </c:pt>
                <c:pt idx="337">
                  <c:v>6</c:v>
                </c:pt>
                <c:pt idx="338">
                  <c:v>1</c:v>
                </c:pt>
                <c:pt idx="339">
                  <c:v>1</c:v>
                </c:pt>
                <c:pt idx="340">
                  <c:v>5</c:v>
                </c:pt>
                <c:pt idx="341">
                  <c:v>7</c:v>
                </c:pt>
                <c:pt idx="342">
                  <c:v>4</c:v>
                </c:pt>
                <c:pt idx="343">
                  <c:v>6</c:v>
                </c:pt>
                <c:pt idx="344">
                  <c:v>2</c:v>
                </c:pt>
                <c:pt idx="345">
                  <c:v>5</c:v>
                </c:pt>
                <c:pt idx="346">
                  <c:v>2</c:v>
                </c:pt>
                <c:pt idx="347">
                  <c:v>7</c:v>
                </c:pt>
                <c:pt idx="348">
                  <c:v>7</c:v>
                </c:pt>
                <c:pt idx="349">
                  <c:v>6</c:v>
                </c:pt>
                <c:pt idx="350">
                  <c:v>12</c:v>
                </c:pt>
                <c:pt idx="351">
                  <c:v>7</c:v>
                </c:pt>
                <c:pt idx="352">
                  <c:v>3</c:v>
                </c:pt>
                <c:pt idx="353">
                  <c:v>3</c:v>
                </c:pt>
                <c:pt idx="354">
                  <c:v>12</c:v>
                </c:pt>
                <c:pt idx="355">
                  <c:v>5</c:v>
                </c:pt>
                <c:pt idx="356">
                  <c:v>15</c:v>
                </c:pt>
                <c:pt idx="357">
                  <c:v>3</c:v>
                </c:pt>
                <c:pt idx="358">
                  <c:v>8</c:v>
                </c:pt>
                <c:pt idx="359">
                  <c:v>1</c:v>
                </c:pt>
                <c:pt idx="360">
                  <c:v>3</c:v>
                </c:pt>
                <c:pt idx="361">
                  <c:v>7</c:v>
                </c:pt>
                <c:pt idx="362">
                  <c:v>4</c:v>
                </c:pt>
                <c:pt idx="363">
                  <c:v>7</c:v>
                </c:pt>
                <c:pt idx="364">
                  <c:v>6</c:v>
                </c:pt>
                <c:pt idx="365">
                  <c:v>4</c:v>
                </c:pt>
                <c:pt idx="366">
                  <c:v>5</c:v>
                </c:pt>
                <c:pt idx="367">
                  <c:v>2</c:v>
                </c:pt>
                <c:pt idx="368">
                  <c:v>9</c:v>
                </c:pt>
                <c:pt idx="369">
                  <c:v>3</c:v>
                </c:pt>
                <c:pt idx="370">
                  <c:v>6</c:v>
                </c:pt>
                <c:pt idx="371">
                  <c:v>5</c:v>
                </c:pt>
                <c:pt idx="372">
                  <c:v>6</c:v>
                </c:pt>
                <c:pt idx="373">
                  <c:v>2</c:v>
                </c:pt>
                <c:pt idx="374">
                  <c:v>0</c:v>
                </c:pt>
                <c:pt idx="375">
                  <c:v>5</c:v>
                </c:pt>
                <c:pt idx="376">
                  <c:v>2</c:v>
                </c:pt>
                <c:pt idx="377">
                  <c:v>1</c:v>
                </c:pt>
                <c:pt idx="378">
                  <c:v>3</c:v>
                </c:pt>
                <c:pt idx="379">
                  <c:v>3</c:v>
                </c:pt>
                <c:pt idx="380">
                  <c:v>0</c:v>
                </c:pt>
                <c:pt idx="381">
                  <c:v>1</c:v>
                </c:pt>
                <c:pt idx="382">
                  <c:v>6</c:v>
                </c:pt>
                <c:pt idx="383">
                  <c:v>3</c:v>
                </c:pt>
                <c:pt idx="384">
                  <c:v>3</c:v>
                </c:pt>
                <c:pt idx="385">
                  <c:v>1</c:v>
                </c:pt>
                <c:pt idx="386">
                  <c:v>0</c:v>
                </c:pt>
                <c:pt idx="387">
                  <c:v>1</c:v>
                </c:pt>
                <c:pt idx="388">
                  <c:v>0</c:v>
                </c:pt>
                <c:pt idx="389">
                  <c:v>3</c:v>
                </c:pt>
                <c:pt idx="390">
                  <c:v>3</c:v>
                </c:pt>
                <c:pt idx="391">
                  <c:v>3</c:v>
                </c:pt>
                <c:pt idx="392">
                  <c:v>0</c:v>
                </c:pt>
                <c:pt idx="393">
                  <c:v>3</c:v>
                </c:pt>
                <c:pt idx="394">
                  <c:v>1</c:v>
                </c:pt>
                <c:pt idx="395">
                  <c:v>0</c:v>
                </c:pt>
                <c:pt idx="396">
                  <c:v>3</c:v>
                </c:pt>
                <c:pt idx="397">
                  <c:v>1</c:v>
                </c:pt>
                <c:pt idx="398">
                  <c:v>1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1</c:v>
                </c:pt>
                <c:pt idx="403">
                  <c:v>1</c:v>
                </c:pt>
                <c:pt idx="404">
                  <c:v>1</c:v>
                </c:pt>
                <c:pt idx="405">
                  <c:v>1</c:v>
                </c:pt>
                <c:pt idx="406">
                  <c:v>1</c:v>
                </c:pt>
                <c:pt idx="407">
                  <c:v>4</c:v>
                </c:pt>
                <c:pt idx="408">
                  <c:v>0</c:v>
                </c:pt>
                <c:pt idx="409">
                  <c:v>2</c:v>
                </c:pt>
                <c:pt idx="410">
                  <c:v>1</c:v>
                </c:pt>
                <c:pt idx="411">
                  <c:v>2</c:v>
                </c:pt>
                <c:pt idx="412">
                  <c:v>2</c:v>
                </c:pt>
                <c:pt idx="413">
                  <c:v>1</c:v>
                </c:pt>
                <c:pt idx="41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416</c:f>
              <c:numCache>
                <c:formatCode>m/d/yyyy</c:formatCode>
                <c:ptCount val="415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37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  <c:pt idx="373">
                  <c:v>44541</c:v>
                </c:pt>
                <c:pt idx="374">
                  <c:v>44542</c:v>
                </c:pt>
                <c:pt idx="375">
                  <c:v>44543</c:v>
                </c:pt>
                <c:pt idx="376">
                  <c:v>44544</c:v>
                </c:pt>
                <c:pt idx="377">
                  <c:v>44545</c:v>
                </c:pt>
                <c:pt idx="378">
                  <c:v>44546</c:v>
                </c:pt>
                <c:pt idx="379">
                  <c:v>44547</c:v>
                </c:pt>
                <c:pt idx="380">
                  <c:v>44548</c:v>
                </c:pt>
                <c:pt idx="381">
                  <c:v>44549</c:v>
                </c:pt>
                <c:pt idx="382">
                  <c:v>44550</c:v>
                </c:pt>
                <c:pt idx="383">
                  <c:v>44551</c:v>
                </c:pt>
                <c:pt idx="384">
                  <c:v>44552</c:v>
                </c:pt>
                <c:pt idx="385">
                  <c:v>44553</c:v>
                </c:pt>
                <c:pt idx="386">
                  <c:v>44554</c:v>
                </c:pt>
                <c:pt idx="387">
                  <c:v>44555</c:v>
                </c:pt>
                <c:pt idx="388">
                  <c:v>44556</c:v>
                </c:pt>
                <c:pt idx="389">
                  <c:v>44557</c:v>
                </c:pt>
                <c:pt idx="390">
                  <c:v>44558</c:v>
                </c:pt>
                <c:pt idx="391">
                  <c:v>44559</c:v>
                </c:pt>
                <c:pt idx="392">
                  <c:v>44560</c:v>
                </c:pt>
                <c:pt idx="393">
                  <c:v>44561</c:v>
                </c:pt>
                <c:pt idx="394">
                  <c:v>44562</c:v>
                </c:pt>
                <c:pt idx="395">
                  <c:v>44563</c:v>
                </c:pt>
                <c:pt idx="396">
                  <c:v>44564</c:v>
                </c:pt>
                <c:pt idx="397">
                  <c:v>44565</c:v>
                </c:pt>
                <c:pt idx="398">
                  <c:v>44566</c:v>
                </c:pt>
                <c:pt idx="399">
                  <c:v>44567</c:v>
                </c:pt>
                <c:pt idx="400">
                  <c:v>44568</c:v>
                </c:pt>
                <c:pt idx="401">
                  <c:v>44569</c:v>
                </c:pt>
                <c:pt idx="402">
                  <c:v>44570</c:v>
                </c:pt>
                <c:pt idx="403">
                  <c:v>44571</c:v>
                </c:pt>
                <c:pt idx="404">
                  <c:v>44572</c:v>
                </c:pt>
                <c:pt idx="405">
                  <c:v>44573</c:v>
                </c:pt>
                <c:pt idx="406">
                  <c:v>44574</c:v>
                </c:pt>
                <c:pt idx="407">
                  <c:v>44575</c:v>
                </c:pt>
                <c:pt idx="408">
                  <c:v>44576</c:v>
                </c:pt>
                <c:pt idx="409">
                  <c:v>44577</c:v>
                </c:pt>
                <c:pt idx="410">
                  <c:v>44578</c:v>
                </c:pt>
                <c:pt idx="411">
                  <c:v>44579</c:v>
                </c:pt>
                <c:pt idx="412">
                  <c:v>44580</c:v>
                </c:pt>
                <c:pt idx="413">
                  <c:v>44581</c:v>
                </c:pt>
                <c:pt idx="414">
                  <c:v>44582</c:v>
                </c:pt>
              </c:numCache>
            </c:numRef>
          </c:cat>
          <c:val>
            <c:numRef>
              <c:f>Sheet1!$C$2:$C$416</c:f>
              <c:numCache>
                <c:formatCode>General</c:formatCode>
                <c:ptCount val="4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5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8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9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3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4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1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1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3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1</c:v>
                </c:pt>
                <c:pt idx="331">
                  <c:v>0</c:v>
                </c:pt>
                <c:pt idx="332">
                  <c:v>1</c:v>
                </c:pt>
                <c:pt idx="333">
                  <c:v>2</c:v>
                </c:pt>
                <c:pt idx="334">
                  <c:v>1</c:v>
                </c:pt>
                <c:pt idx="335">
                  <c:v>1</c:v>
                </c:pt>
                <c:pt idx="336">
                  <c:v>0</c:v>
                </c:pt>
                <c:pt idx="337">
                  <c:v>1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3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2</c:v>
                </c:pt>
                <c:pt idx="346">
                  <c:v>2</c:v>
                </c:pt>
                <c:pt idx="347">
                  <c:v>1</c:v>
                </c:pt>
                <c:pt idx="348">
                  <c:v>1</c:v>
                </c:pt>
                <c:pt idx="349">
                  <c:v>0</c:v>
                </c:pt>
                <c:pt idx="350">
                  <c:v>6</c:v>
                </c:pt>
                <c:pt idx="351">
                  <c:v>3</c:v>
                </c:pt>
                <c:pt idx="352">
                  <c:v>1</c:v>
                </c:pt>
                <c:pt idx="353">
                  <c:v>2</c:v>
                </c:pt>
                <c:pt idx="354">
                  <c:v>2</c:v>
                </c:pt>
                <c:pt idx="355">
                  <c:v>0</c:v>
                </c:pt>
                <c:pt idx="356">
                  <c:v>5</c:v>
                </c:pt>
                <c:pt idx="357">
                  <c:v>0</c:v>
                </c:pt>
                <c:pt idx="358">
                  <c:v>1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1</c:v>
                </c:pt>
                <c:pt idx="365">
                  <c:v>0</c:v>
                </c:pt>
                <c:pt idx="366">
                  <c:v>0</c:v>
                </c:pt>
                <c:pt idx="367">
                  <c:v>1</c:v>
                </c:pt>
                <c:pt idx="368">
                  <c:v>1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1</c:v>
                </c:pt>
                <c:pt idx="380">
                  <c:v>0</c:v>
                </c:pt>
                <c:pt idx="381">
                  <c:v>0</c:v>
                </c:pt>
                <c:pt idx="382">
                  <c:v>2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1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1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5D-4027-9A8C-A63EB3E95B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28</c:v>
                </c:pt>
                <c:pt idx="3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2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6314414814427878</c:v>
                </c:pt>
                <c:pt idx="1">
                  <c:v>0.23685585185572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3165486883588129</c:v>
                </c:pt>
                <c:pt idx="1">
                  <c:v>0.368345131164118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70166460387434126</c:v>
                </c:pt>
                <c:pt idx="1">
                  <c:v>0.298335396125658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9.xml"/><Relationship Id="rId5" Type="http://schemas.openxmlformats.org/officeDocument/2006/relationships/tags" Target="../tags/tag15.xml"/><Relationship Id="rId10" Type="http://schemas.openxmlformats.org/officeDocument/2006/relationships/chart" Target="../charts/chart8.xml"/><Relationship Id="rId4" Type="http://schemas.openxmlformats.org/officeDocument/2006/relationships/tags" Target="../tags/tag14.xml"/><Relationship Id="rId9" Type="http://schemas.openxmlformats.org/officeDocument/2006/relationships/chart" Target="../charts/char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1.xml"/><Relationship Id="rId5" Type="http://schemas.openxmlformats.org/officeDocument/2006/relationships/tags" Target="../tags/tag22.xml"/><Relationship Id="rId10" Type="http://schemas.openxmlformats.org/officeDocument/2006/relationships/chart" Target="../charts/chart10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chart" Target="../charts/chart2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22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2. 1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9681446"/>
              </p:ext>
            </p:extLst>
          </p:nvPr>
        </p:nvGraphicFramePr>
        <p:xfrm>
          <a:off x="1372685" y="1009673"/>
          <a:ext cx="9684753" cy="366171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583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4 500 nakažených klientů a více než 17 500 nakažených pracovníků. Hlášení o úmrtích COVID pozitivních klientů přesáhlo 3 400, pracovníků zemřelo 21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7618" y="2483419"/>
            <a:ext cx="1178744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52 nákaz pracovníků a 820 nákaz klientů pobytových sociálních služeb. Počet hlášených úmrtí klientů dosáhnul v listopadu hodnoty 112. Ačkoli šlo o výrazný nárůst, stále se jednalo o počty významně nižší než v zimních až jarních měsících 2021. Za prosinec bylo dosud na bázi přímého hlášení od poskytovatelů sociálních služeb registrováno 566 nákaz u personálu a 403 nákaz u klientů. Celkem 70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96776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-75509" y="5631707"/>
            <a:ext cx="1178744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dosud nahlášeno 343 případů nákazy personálu a 117 klientů, z nichž 18 zemřelo. Počty případů s těžkým průběhem nákazy, zejména vyžadujícím hospitalizaci, zůstávají nízké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3228269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1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8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6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0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1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6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8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1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72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78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90754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0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39628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0277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5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9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7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5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1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5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1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4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6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0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69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37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906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8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6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3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906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2. 1. 2022</a:t>
            </a:r>
          </a:p>
        </p:txBody>
      </p:sp>
    </p:spTree>
    <p:extLst>
      <p:ext uri="{BB962C8B-B14F-4D97-AF65-F5344CB8AC3E}">
        <p14:creationId xmlns:p14="http://schemas.microsoft.com/office/powerpoint/2010/main" val="371013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7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3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3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%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6 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8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8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8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2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90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021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4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2. 1. 2022</a:t>
            </a:r>
          </a:p>
        </p:txBody>
      </p:sp>
    </p:spTree>
    <p:extLst>
      <p:ext uri="{BB962C8B-B14F-4D97-AF65-F5344CB8AC3E}">
        <p14:creationId xmlns:p14="http://schemas.microsoft.com/office/powerpoint/2010/main" val="34788337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2. 1. 2022</a:t>
            </a:r>
          </a:p>
        </p:txBody>
      </p:sp>
    </p:spTree>
    <p:extLst>
      <p:ext uri="{BB962C8B-B14F-4D97-AF65-F5344CB8AC3E}">
        <p14:creationId xmlns:p14="http://schemas.microsoft.com/office/powerpoint/2010/main" val="12784525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2. 1. 2022</a:t>
            </a:r>
          </a:p>
        </p:txBody>
      </p:sp>
    </p:spTree>
    <p:extLst>
      <p:ext uri="{BB962C8B-B14F-4D97-AF65-F5344CB8AC3E}">
        <p14:creationId xmlns:p14="http://schemas.microsoft.com/office/powerpoint/2010/main" val="38320893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855208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3187464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248633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88368"/>
          <a:ext cx="11895238" cy="5633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80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</a:t>
                      </a:r>
                    </a:p>
                    <a:p>
                      <a:pPr algn="ctr"/>
                      <a:r>
                        <a:rPr lang="cs-CZ" sz="1200" dirty="0"/>
                        <a:t>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/>
                        <a:t>Září </a:t>
                      </a:r>
                    </a:p>
                    <a:p>
                      <a:pPr algn="ctr"/>
                      <a:r>
                        <a:rPr lang="cs-CZ" sz="1200"/>
                        <a:t>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22. 1.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42188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3567554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88368"/>
          <a:ext cx="11895238" cy="5633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80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</a:t>
                      </a:r>
                    </a:p>
                    <a:p>
                      <a:pPr algn="ctr"/>
                      <a:r>
                        <a:rPr lang="cs-CZ" sz="1200" dirty="0"/>
                        <a:t>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</a:t>
                      </a:r>
                    </a:p>
                    <a:p>
                      <a:pPr algn="ctr"/>
                      <a:r>
                        <a:rPr lang="cs-CZ" sz="1200" dirty="0"/>
                        <a:t>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22. 1. 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67583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6159174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2039286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934450"/>
            <a:ext cx="113270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2022 je dosud hlášeno 16 událostí se 184 nakaženými (stav k 22. 1.) </a:t>
            </a: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velmi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jednotkové výskyty nákazy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23343" y="5994400"/>
            <a:ext cx="1319062" cy="67267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5F5DEB8-7C1F-46A2-85A7-402AC2844F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297006"/>
              </p:ext>
            </p:extLst>
          </p:nvPr>
        </p:nvGraphicFramePr>
        <p:xfrm>
          <a:off x="1013044" y="5723959"/>
          <a:ext cx="10931284" cy="731520"/>
        </p:xfrm>
        <a:graphic>
          <a:graphicData uri="http://schemas.openxmlformats.org/drawingml/2006/table">
            <a:tbl>
              <a:tblPr/>
              <a:tblGrid>
                <a:gridCol w="120124">
                  <a:extLst>
                    <a:ext uri="{9D8B030D-6E8A-4147-A177-3AD203B41FA5}">
                      <a16:colId xmlns:a16="http://schemas.microsoft.com/office/drawing/2014/main" val="2224702649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50291207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053517118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743795995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175676145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733553305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055411806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58661223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81519300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45238115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5665148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12067976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989971719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225951878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90778176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42570566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904870939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38928765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36341708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344194115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44688357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63207023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28152868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4100894713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873778190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26864255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998267706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390935378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154692661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4146907660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301598486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909256426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370388365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76682338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749416760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3526182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23871772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633329008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445769709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858185579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428297396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31569400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787215618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552169670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432528580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648340141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17855165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951643913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56688241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767669829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41073773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67260675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302050569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57035306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49938196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490519763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97852523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74868020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72894108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522590221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830803545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96789809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52347498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81796665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421592101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607070060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08944645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575583268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772032771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81623442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03271420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599280570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5443330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2207090042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80371830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897965041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57127546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144581619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039406293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688013851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926571763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281126707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70430905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097622501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763155439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62499470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406245196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4135776761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3634677386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976641284"/>
                    </a:ext>
                  </a:extLst>
                </a:gridCol>
                <a:gridCol w="120124">
                  <a:extLst>
                    <a:ext uri="{9D8B030D-6E8A-4147-A177-3AD203B41FA5}">
                      <a16:colId xmlns:a16="http://schemas.microsoft.com/office/drawing/2014/main" val="10125676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490006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233948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565056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2. 1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DFCE333-DD33-471A-A080-C1020D2CEC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5519835"/>
              </p:ext>
            </p:extLst>
          </p:nvPr>
        </p:nvGraphicFramePr>
        <p:xfrm>
          <a:off x="7428782" y="5737703"/>
          <a:ext cx="4564854" cy="731520"/>
        </p:xfrm>
        <a:graphic>
          <a:graphicData uri="http://schemas.openxmlformats.org/drawingml/2006/table">
            <a:tbl>
              <a:tblPr/>
              <a:tblGrid>
                <a:gridCol w="217374">
                  <a:extLst>
                    <a:ext uri="{9D8B030D-6E8A-4147-A177-3AD203B41FA5}">
                      <a16:colId xmlns:a16="http://schemas.microsoft.com/office/drawing/2014/main" val="160689591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19745777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69973363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6219939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7795035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801782003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8361318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1700433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10317936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1763416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960936467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82683695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1783629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49863010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15924520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836410927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5617582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2106555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1554106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8371196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4864875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974313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059692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2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5471243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1/2022 k 22. 1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86584" y="5534255"/>
            <a:ext cx="5613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22. 1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4949268"/>
              </p:ext>
            </p:extLst>
          </p:nvPr>
        </p:nvGraphicFramePr>
        <p:xfrm>
          <a:off x="47625" y="989354"/>
          <a:ext cx="6437722" cy="5416275"/>
        </p:xfrm>
        <a:graphic>
          <a:graphicData uri="http://schemas.openxmlformats.org/drawingml/2006/table">
            <a:tbl>
              <a:tblPr/>
              <a:tblGrid>
                <a:gridCol w="546434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22. 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63ED1944-9A78-4036-86FC-55DE3FA04D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570239"/>
              </p:ext>
            </p:extLst>
          </p:nvPr>
        </p:nvGraphicFramePr>
        <p:xfrm>
          <a:off x="7428782" y="1219781"/>
          <a:ext cx="4564854" cy="517639"/>
        </p:xfrm>
        <a:graphic>
          <a:graphicData uri="http://schemas.openxmlformats.org/drawingml/2006/table">
            <a:tbl>
              <a:tblPr/>
              <a:tblGrid>
                <a:gridCol w="217374">
                  <a:extLst>
                    <a:ext uri="{9D8B030D-6E8A-4147-A177-3AD203B41FA5}">
                      <a16:colId xmlns:a16="http://schemas.microsoft.com/office/drawing/2014/main" val="375136833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56671002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5684366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7832587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04818536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62570430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35573483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77519445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60072838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7467571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66035317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4330264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24426261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62427149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7919695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53359244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91337830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58026353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67468472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919923383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666594402"/>
                    </a:ext>
                  </a:extLst>
                </a:gridCol>
              </a:tblGrid>
              <a:tr h="10028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715766"/>
                  </a:ext>
                </a:extLst>
              </a:tr>
              <a:tr h="4173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28734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51097BD-73E6-4BA2-91A9-E329A719F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584393"/>
              </p:ext>
            </p:extLst>
          </p:nvPr>
        </p:nvGraphicFramePr>
        <p:xfrm>
          <a:off x="8685801" y="987423"/>
          <a:ext cx="886823" cy="5460980"/>
        </p:xfrm>
        <a:graphic>
          <a:graphicData uri="http://schemas.openxmlformats.org/drawingml/2006/table">
            <a:tbl>
              <a:tblPr/>
              <a:tblGrid>
                <a:gridCol w="886823">
                  <a:extLst>
                    <a:ext uri="{9D8B030D-6E8A-4147-A177-3AD203B41FA5}">
                      <a16:colId xmlns:a16="http://schemas.microsoft.com/office/drawing/2014/main" val="111910632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9531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3180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4081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34243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11785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5086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92137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55385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80923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0456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09816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8213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90011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78125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29321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24765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28311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38772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4497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42054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6111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02100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35957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4365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7098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37582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67764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1751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2. 1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3115557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 6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9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A7572F1-A3A9-4778-AC0A-1851ED588C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8161858"/>
              </p:ext>
            </p:extLst>
          </p:nvPr>
        </p:nvGraphicFramePr>
        <p:xfrm>
          <a:off x="8677275" y="1159939"/>
          <a:ext cx="933450" cy="5288490"/>
        </p:xfrm>
        <a:graphic>
          <a:graphicData uri="http://schemas.openxmlformats.org/drawingml/2006/table">
            <a:tbl>
              <a:tblPr/>
              <a:tblGrid>
                <a:gridCol w="933450">
                  <a:extLst>
                    <a:ext uri="{9D8B030D-6E8A-4147-A177-3AD203B41FA5}">
                      <a16:colId xmlns:a16="http://schemas.microsoft.com/office/drawing/2014/main" val="708023879"/>
                    </a:ext>
                  </a:extLst>
                </a:gridCol>
              </a:tblGrid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19937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96300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985743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41217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50904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1440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56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71538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021637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15510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0895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76758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07953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6821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442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72762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68296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73624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38140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3369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6843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33861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1654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00725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983020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5958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98837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2. 1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5502153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577 (3 17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4 (37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950 (1 90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41 (31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987 (26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68 (2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41 (74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3 (12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32 (4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5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2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1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2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54F36C7-09CF-46EE-BE4B-8FE6A60E9D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599334"/>
              </p:ext>
            </p:extLst>
          </p:nvPr>
        </p:nvGraphicFramePr>
        <p:xfrm>
          <a:off x="7349384" y="554301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48998389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38881907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20049012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0709278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28132743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62080143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247065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2477344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167595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160991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2. 1. 2022</a:t>
            </a: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631</TotalTime>
  <Words>15111</Words>
  <Application>Microsoft Office PowerPoint</Application>
  <PresentationFormat>Širokoúhlá obrazovka</PresentationFormat>
  <Paragraphs>6503</Paragraphs>
  <Slides>59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9</vt:i4>
      </vt:variant>
    </vt:vector>
  </HeadingPairs>
  <TitlesOfParts>
    <vt:vector size="63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615</cp:revision>
  <dcterms:created xsi:type="dcterms:W3CDTF">2020-11-14T10:09:00Z</dcterms:created>
  <dcterms:modified xsi:type="dcterms:W3CDTF">2022-01-23T13:32:30Z</dcterms:modified>
</cp:coreProperties>
</file>